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256" r:id="rId2"/>
    <p:sldId id="303" r:id="rId3"/>
    <p:sldId id="261" r:id="rId4"/>
    <p:sldId id="301" r:id="rId5"/>
    <p:sldId id="302" r:id="rId6"/>
    <p:sldId id="258" r:id="rId7"/>
    <p:sldId id="295" r:id="rId8"/>
    <p:sldId id="296" r:id="rId9"/>
    <p:sldId id="297" r:id="rId10"/>
    <p:sldId id="298" r:id="rId11"/>
    <p:sldId id="262" r:id="rId12"/>
    <p:sldId id="266" r:id="rId13"/>
    <p:sldId id="300" r:id="rId14"/>
    <p:sldId id="265" r:id="rId15"/>
    <p:sldId id="263" r:id="rId16"/>
    <p:sldId id="267" r:id="rId17"/>
    <p:sldId id="264" r:id="rId18"/>
    <p:sldId id="290" r:id="rId19"/>
    <p:sldId id="292" r:id="rId20"/>
    <p:sldId id="291" r:id="rId21"/>
    <p:sldId id="293" r:id="rId22"/>
    <p:sldId id="269" r:id="rId23"/>
    <p:sldId id="270" r:id="rId24"/>
    <p:sldId id="306" r:id="rId25"/>
    <p:sldId id="279" r:id="rId26"/>
    <p:sldId id="284" r:id="rId27"/>
    <p:sldId id="289" r:id="rId28"/>
    <p:sldId id="288" r:id="rId29"/>
    <p:sldId id="287" r:id="rId30"/>
    <p:sldId id="280" r:id="rId31"/>
    <p:sldId id="283" r:id="rId32"/>
    <p:sldId id="282" r:id="rId33"/>
    <p:sldId id="281" r:id="rId3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0050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54" d="100"/>
          <a:sy n="54" d="100"/>
        </p:scale>
        <p:origin x="1640" y="5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0DBAB-7E52-4B52-8D88-4FB42F2E1688}" type="datetimeFigureOut">
              <a:rPr lang="en-US" smtClean="0"/>
              <a:t>10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63FA7-94CF-43FF-8A15-B946B2867A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9802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281078-3BB3-44C5-B8BB-D75C66AD889E}" type="datetimeFigureOut">
              <a:rPr lang="en-US" smtClean="0"/>
              <a:t>10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FA4A3C-AF91-46EA-A961-5F7F724B6A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787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AC55A5-4ACD-474D-B8FB-D8F6318C2F5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5220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miter lim="800000"/>
          </a:ln>
        </p:spPr>
      </p:sp>
      <p:sp>
        <p:nvSpPr>
          <p:cNvPr id="6147" name="Notes Placeholder 2"/>
          <p:cNvSpPr>
            <a:spLocks noGrp="1"/>
          </p:cNvSpPr>
          <p:nvPr>
            <p:ph type="body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91440" tIns="45720" rIns="91440" bIns="45720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200" b="0" i="0" u="none" baseline="0">
                <a:solidFill>
                  <a:schemeClr val="tx1"/>
                </a:solidFill>
                <a:effectLst/>
                <a:latin typeface="Calibri" pitchFamily="34" charset="0"/>
                <a:ea typeface="ＭＳ Ｐゴシック" pitchFamily="34" charset="-128"/>
              </a:defRPr>
            </a:lvl1pPr>
            <a:lvl2pPr marL="457200" indent="0" algn="l" defTabSz="4572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200" b="0" i="0" u="none" baseline="0">
                <a:solidFill>
                  <a:schemeClr val="tx1"/>
                </a:solidFill>
                <a:effectLst/>
                <a:latin typeface="Calibri" pitchFamily="34" charset="0"/>
                <a:ea typeface="ＭＳ Ｐゴシック" pitchFamily="34" charset="-128"/>
              </a:defRPr>
            </a:lvl2pPr>
            <a:lvl3pPr marL="914400" indent="0" algn="l" defTabSz="4572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200" b="0" i="0" u="none" baseline="0">
                <a:solidFill>
                  <a:schemeClr val="tx1"/>
                </a:solidFill>
                <a:effectLst/>
                <a:latin typeface="Calibri" pitchFamily="34" charset="0"/>
                <a:ea typeface="ＭＳ Ｐゴシック" pitchFamily="34" charset="-128"/>
              </a:defRPr>
            </a:lvl3pPr>
            <a:lvl4pPr marL="1371600" indent="0" algn="l" defTabSz="4572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200" b="0" i="0" u="none" baseline="0">
                <a:solidFill>
                  <a:schemeClr val="tx1"/>
                </a:solidFill>
                <a:effectLst/>
                <a:latin typeface="Calibri" pitchFamily="34" charset="0"/>
                <a:ea typeface="ＭＳ Ｐゴシック" pitchFamily="34" charset="-128"/>
              </a:defRPr>
            </a:lvl4pPr>
            <a:lvl5pPr marL="1828800" indent="0" algn="l" defTabSz="4572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200" b="0" i="0" u="none" baseline="0">
                <a:solidFill>
                  <a:schemeClr val="tx1"/>
                </a:solidFill>
                <a:effectLst/>
                <a:latin typeface="Calibri" pitchFamily="34" charset="0"/>
                <a:ea typeface="ＭＳ Ｐゴシック" pitchFamily="34" charset="-128"/>
              </a:defRPr>
            </a:lvl5pPr>
          </a:lstStyle>
          <a:p>
            <a:pPr marL="0" lvl="0" indent="0"/>
            <a:endParaRPr lang="en-US" altLang="en-US" dirty="0">
              <a:latin typeface="Arial"/>
              <a:ea typeface="Arial"/>
            </a:endParaRPr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anchor="b" anchorCtr="0">
            <a:no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Arial"/>
                <a:ea typeface="ＭＳ Ｐゴシック" pitchFamily="34" charset="-128"/>
              </a:defRPr>
            </a:lvl1pPr>
            <a:lvl2pPr marL="4572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Arial"/>
                <a:ea typeface="ＭＳ Ｐゴシック" pitchFamily="34" charset="-128"/>
              </a:defRPr>
            </a:lvl2pPr>
            <a:lvl3pPr marL="9144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Arial"/>
                <a:ea typeface="ＭＳ Ｐゴシック" pitchFamily="34" charset="-128"/>
              </a:defRPr>
            </a:lvl3pPr>
            <a:lvl4pPr marL="13716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Arial"/>
                <a:ea typeface="ＭＳ Ｐゴシック" pitchFamily="34" charset="-128"/>
              </a:defRPr>
            </a:lvl4pPr>
            <a:lvl5pPr marL="18288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Arial"/>
                <a:ea typeface="ＭＳ Ｐゴシック" pitchFamily="34" charset="-128"/>
              </a:defRPr>
            </a:lvl5pPr>
          </a:lstStyle>
          <a:p>
            <a:pPr marL="0" lvl="0" indent="0" algn="r" eaLnBrk="1" hangingPunct="1"/>
            <a:fld id="{19338893-B9E0-4ED1-9318-B045F0556D66}" type="slidenum">
              <a:rPr lang="en-US" altLang="en-US" sz="1200"/>
              <a:t>13</a:t>
            </a:fld>
            <a:endParaRPr lang="en-US" altLang="en-US" sz="12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879" indent="-28572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2892" indent="-22857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049" indent="-22857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206" indent="-22857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362" indent="-2285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519" indent="-2285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8676" indent="-2285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5833" indent="-2285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DAF30ED1-6AD5-4D59-99FE-04D9EAC83BAE}" type="slidenum">
              <a:rPr lang="en-US" altLang="en-US" smtClean="0"/>
              <a:pPr eaLnBrk="1" hangingPunct="1"/>
              <a:t>14</a:t>
            </a:fld>
            <a:endParaRPr lang="en-US" altLang="en-US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99735-36D5-43C5-A738-FE9F36DF3228}" type="datetime1">
              <a:rPr lang="en-US" smtClean="0"/>
              <a:t>10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7867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6AE07-2077-4F7F-AB7C-8F3956C16953}" type="datetime1">
              <a:rPr lang="en-US" smtClean="0"/>
              <a:t>10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325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BD39D-160C-4998-B5D1-F213AA2A6E52}" type="datetime1">
              <a:rPr lang="en-US" smtClean="0"/>
              <a:t>10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994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D4D56-4377-4E07-92E4-5B200C5D1289}" type="datetime1">
              <a:rPr lang="en-US" smtClean="0"/>
              <a:t>10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1374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A7DF5-71BF-4FA5-9AA7-BDCF26ABA237}" type="datetime1">
              <a:rPr lang="en-US" smtClean="0"/>
              <a:t>10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108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9D047-2E4D-4FFD-A6F6-45AA417584EC}" type="datetime1">
              <a:rPr lang="en-US" smtClean="0"/>
              <a:t>10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0113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43EA09-0350-4007-BC38-10D7B1F42532}" type="datetime1">
              <a:rPr lang="en-US" smtClean="0"/>
              <a:t>10/24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766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BBB72-FC02-47CF-98BC-99CA33CBE413}" type="datetime1">
              <a:rPr lang="en-US" smtClean="0"/>
              <a:t>10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890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01845-DF77-4CF9-913E-50DF0A396F51}" type="datetime1">
              <a:rPr lang="en-US" smtClean="0"/>
              <a:t>10/2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652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77B77-B536-473E-BFC2-804598D5E742}" type="datetime1">
              <a:rPr lang="en-US" smtClean="0"/>
              <a:t>10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614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A6A8E-477A-4FF8-8E76-CC12CE3ED36C}" type="datetime1">
              <a:rPr lang="en-US" smtClean="0"/>
              <a:t>10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663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1B4B13-5302-48DA-BF87-8FF716B099B9}" type="datetime1">
              <a:rPr lang="en-US" smtClean="0"/>
              <a:t>10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A8CCD0-1246-4947-80B3-29C7C2140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601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12" Type="http://schemas.openxmlformats.org/officeDocument/2006/relationships/image" Target="../media/image27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25.png"/><Relationship Id="rId11" Type="http://schemas.openxmlformats.org/officeDocument/2006/relationships/image" Target="../media/image9.png"/><Relationship Id="rId5" Type="http://schemas.openxmlformats.org/officeDocument/2006/relationships/image" Target="../media/image24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png"/><Relationship Id="rId10" Type="http://schemas.openxmlformats.org/officeDocument/2006/relationships/image" Target="../media/image7.jpeg"/><Relationship Id="rId4" Type="http://schemas.openxmlformats.org/officeDocument/2006/relationships/image" Target="../media/image1.emf"/><Relationship Id="rId9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9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11" Type="http://schemas.openxmlformats.org/officeDocument/2006/relationships/image" Target="../media/image8.jpeg"/><Relationship Id="rId5" Type="http://schemas.openxmlformats.org/officeDocument/2006/relationships/image" Target="../media/image11.png"/><Relationship Id="rId10" Type="http://schemas.openxmlformats.org/officeDocument/2006/relationships/image" Target="../media/image14.jpeg"/><Relationship Id="rId4" Type="http://schemas.openxmlformats.org/officeDocument/2006/relationships/image" Target="../media/image10.emf"/><Relationship Id="rId9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13.jpeg"/><Relationship Id="rId11" Type="http://schemas.openxmlformats.org/officeDocument/2006/relationships/image" Target="../media/image15.png"/><Relationship Id="rId5" Type="http://schemas.openxmlformats.org/officeDocument/2006/relationships/image" Target="../media/image18.png"/><Relationship Id="rId10" Type="http://schemas.openxmlformats.org/officeDocument/2006/relationships/image" Target="../media/image20.jpeg"/><Relationship Id="rId4" Type="http://schemas.openxmlformats.org/officeDocument/2006/relationships/image" Target="../media/image17.emf"/><Relationship Id="rId9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3.jpeg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11" Type="http://schemas.openxmlformats.org/officeDocument/2006/relationships/image" Target="../media/image23.jpeg"/><Relationship Id="rId5" Type="http://schemas.openxmlformats.org/officeDocument/2006/relationships/image" Target="../media/image22.png"/><Relationship Id="rId10" Type="http://schemas.openxmlformats.org/officeDocument/2006/relationships/image" Target="../media/image20.jpeg"/><Relationship Id="rId4" Type="http://schemas.openxmlformats.org/officeDocument/2006/relationships/image" Target="../media/image21.emf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00201"/>
            <a:ext cx="7772400" cy="2286000"/>
          </a:xfrm>
        </p:spPr>
        <p:txBody>
          <a:bodyPr>
            <a:normAutofit fontScale="90000"/>
          </a:bodyPr>
          <a:lstStyle/>
          <a:p>
            <a:r>
              <a:rPr lang="en-US" sz="4900" b="1" dirty="0"/>
              <a:t>Systematic Managed Floating </a:t>
            </a:r>
            <a:br>
              <a:rPr lang="en-US" sz="4900" b="1" dirty="0"/>
            </a:br>
            <a:br>
              <a:rPr lang="en-US" sz="4000" b="1" dirty="0"/>
            </a:br>
            <a:r>
              <a:rPr lang="en-US" sz="4000" dirty="0"/>
              <a:t>Jeffrey Frankel</a:t>
            </a:r>
            <a:br>
              <a:rPr lang="en-US" sz="4000" dirty="0"/>
            </a:br>
            <a:r>
              <a:rPr lang="en-US" sz="2900" dirty="0"/>
              <a:t>Harpel Professor of Capital Formation and Growth</a:t>
            </a:r>
            <a:br>
              <a:rPr lang="en-US" sz="3100" dirty="0"/>
            </a:br>
            <a:r>
              <a:rPr lang="en-US" sz="3600" dirty="0"/>
              <a:t>Harvard University</a:t>
            </a:r>
            <a:br>
              <a:rPr lang="en-US" sz="3100" dirty="0"/>
            </a:br>
            <a:endParaRPr lang="en-US" sz="31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" y="4495800"/>
            <a:ext cx="8839200" cy="1676400"/>
          </a:xfrm>
        </p:spPr>
        <p:txBody>
          <a:bodyPr>
            <a:normAutofit fontScale="85000" lnSpcReduction="20000"/>
          </a:bodyPr>
          <a:lstStyle/>
          <a:p>
            <a:r>
              <a:rPr lang="en-US" sz="3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bert Mundell Distinguished Lecture</a:t>
            </a:r>
          </a:p>
          <a:p>
            <a:r>
              <a:rPr lang="en-US" sz="3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ference on The Center at 50</a:t>
            </a:r>
          </a:p>
          <a:p>
            <a:r>
              <a:rPr lang="en-US" sz="3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rnational Center for Monetary and Banking Studies</a:t>
            </a:r>
          </a:p>
          <a:p>
            <a:r>
              <a:rPr lang="en-US" sz="3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eneva, 27 October, 2023</a:t>
            </a:r>
          </a:p>
        </p:txBody>
      </p:sp>
    </p:spTree>
    <p:extLst>
      <p:ext uri="{BB962C8B-B14F-4D97-AF65-F5344CB8AC3E}">
        <p14:creationId xmlns:p14="http://schemas.microsoft.com/office/powerpoint/2010/main" val="26214128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62EE5ED-CF1A-AAE4-9E2C-47D91842F9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85844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2EE5ED-CF1A-AAE4-9E2C-47D91842F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85844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of currency exchange rate&#10;&#10;Description automatically generated">
            <a:extLst>
              <a:ext uri="{FF2B5EF4-FFF2-40B4-BE49-F238E27FC236}">
                <a16:creationId xmlns:a16="http://schemas.microsoft.com/office/drawing/2014/main" id="{8363D1C6-34DD-48C9-4E84-7FC1E590FA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6574" y="1485900"/>
            <a:ext cx="7804145" cy="5143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6258D91-95E8-326E-B40A-718A2F915C53}"/>
              </a:ext>
            </a:extLst>
          </p:cNvPr>
          <p:cNvSpPr txBox="1"/>
          <p:nvPr/>
        </p:nvSpPr>
        <p:spPr>
          <a:xfrm>
            <a:off x="422564" y="1565702"/>
            <a:ext cx="178723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dirty="0">
                <a:solidFill>
                  <a:schemeClr val="tx2"/>
                </a:solidFill>
                <a:latin typeface="+mn-lt"/>
              </a:rPr>
              <a:t>FIGURE 5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DD0463-379A-29DE-9C4B-DD4748D78B0A}"/>
              </a:ext>
            </a:extLst>
          </p:cNvPr>
          <p:cNvSpPr txBox="1"/>
          <p:nvPr/>
        </p:nvSpPr>
        <p:spPr>
          <a:xfrm>
            <a:off x="1733254" y="3700576"/>
            <a:ext cx="1756064" cy="646331"/>
          </a:xfrm>
          <a:prstGeom prst="rect">
            <a:avLst/>
          </a:prstGeom>
          <a:noFill/>
          <a:ln w="254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+mn-lt"/>
              </a:rPr>
              <a:t>less-managed floa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640B03-0A9A-D070-BCAC-2CCD0EC7C69E}"/>
              </a:ext>
            </a:extLst>
          </p:cNvPr>
          <p:cNvSpPr txBox="1"/>
          <p:nvPr/>
        </p:nvSpPr>
        <p:spPr>
          <a:xfrm>
            <a:off x="4648200" y="4639270"/>
            <a:ext cx="1148253" cy="923330"/>
          </a:xfrm>
          <a:prstGeom prst="rect">
            <a:avLst/>
          </a:prstGeom>
          <a:solidFill>
            <a:schemeClr val="bg1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+mn-lt"/>
              </a:rPr>
              <a:t>more-managed floating</a:t>
            </a:r>
          </a:p>
        </p:txBody>
      </p:sp>
      <p:pic>
        <p:nvPicPr>
          <p:cNvPr id="16" name="Picture 2" descr="undefined">
            <a:extLst>
              <a:ext uri="{FF2B5EF4-FFF2-40B4-BE49-F238E27FC236}">
                <a16:creationId xmlns:a16="http://schemas.microsoft.com/office/drawing/2014/main" id="{ACA3CABF-6424-676C-B298-B63B669A5F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5907360" y="5313756"/>
            <a:ext cx="359113" cy="239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0" descr="Flag of Brazil - Wikipedia">
            <a:extLst>
              <a:ext uri="{FF2B5EF4-FFF2-40B4-BE49-F238E27FC236}">
                <a16:creationId xmlns:a16="http://schemas.microsoft.com/office/drawing/2014/main" id="{9EF46B52-3CF7-EB5F-B2F7-0A276EDAC8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2056" y="3746454"/>
            <a:ext cx="18902" cy="13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83D4658-EDC4-D0EB-6C59-809749F2E21E}"/>
              </a:ext>
            </a:extLst>
          </p:cNvPr>
          <p:cNvCxnSpPr>
            <a:cxnSpLocks/>
          </p:cNvCxnSpPr>
          <p:nvPr/>
        </p:nvCxnSpPr>
        <p:spPr>
          <a:xfrm flipV="1">
            <a:off x="2743201" y="3387171"/>
            <a:ext cx="4563995" cy="1953304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Flag of Indonesia | Meaning, History &amp; Colors | Britannica">
            <a:extLst>
              <a:ext uri="{FF2B5EF4-FFF2-40B4-BE49-F238E27FC236}">
                <a16:creationId xmlns:a16="http://schemas.microsoft.com/office/drawing/2014/main" id="{425E426E-F712-2162-EE46-8CA1154DF5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3320" y="3578137"/>
            <a:ext cx="347795" cy="231863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Drapeau de Hong Kong">
            <a:extLst>
              <a:ext uri="{FF2B5EF4-FFF2-40B4-BE49-F238E27FC236}">
                <a16:creationId xmlns:a16="http://schemas.microsoft.com/office/drawing/2014/main" id="{2EA54CE2-4CB0-F65F-F91A-A68CC4A2D8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8887" y="4470200"/>
            <a:ext cx="381113" cy="25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0" descr="Flag of Brazil - Wikipedia">
            <a:extLst>
              <a:ext uri="{FF2B5EF4-FFF2-40B4-BE49-F238E27FC236}">
                <a16:creationId xmlns:a16="http://schemas.microsoft.com/office/drawing/2014/main" id="{FFC51EC2-3301-0580-6DA7-78D8C9853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9681" y="3733800"/>
            <a:ext cx="362824" cy="253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2" descr="Flag of Australia - Wikipedia">
            <a:extLst>
              <a:ext uri="{FF2B5EF4-FFF2-40B4-BE49-F238E27FC236}">
                <a16:creationId xmlns:a16="http://schemas.microsoft.com/office/drawing/2014/main" id="{95FE6EFF-A28D-B26C-6BB9-1CFCD3A93F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8555" y="3231073"/>
            <a:ext cx="421571" cy="210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Line 6">
            <a:extLst>
              <a:ext uri="{FF2B5EF4-FFF2-40B4-BE49-F238E27FC236}">
                <a16:creationId xmlns:a16="http://schemas.microsoft.com/office/drawing/2014/main" id="{5239A031-30D9-2E75-2D00-2C53672B80D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135898" y="3370508"/>
            <a:ext cx="1153485" cy="505343"/>
          </a:xfrm>
          <a:prstGeom prst="line">
            <a:avLst/>
          </a:prstGeom>
          <a:noFill/>
          <a:ln w="92075">
            <a:solidFill>
              <a:srgbClr val="CC009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pic>
        <p:nvPicPr>
          <p:cNvPr id="2052" name="Picture 4" descr="Malaysia Flag | American Flags Express">
            <a:extLst>
              <a:ext uri="{FF2B5EF4-FFF2-40B4-BE49-F238E27FC236}">
                <a16:creationId xmlns:a16="http://schemas.microsoft.com/office/drawing/2014/main" id="{D8C35B1C-DC09-B286-17F0-258C31406C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1251" y="4038600"/>
            <a:ext cx="437149" cy="437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Line 6">
            <a:extLst>
              <a:ext uri="{FF2B5EF4-FFF2-40B4-BE49-F238E27FC236}">
                <a16:creationId xmlns:a16="http://schemas.microsoft.com/office/drawing/2014/main" id="{EEE60EEB-4383-C50D-580F-EDFA60068840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169576" y="3352800"/>
            <a:ext cx="2125544" cy="46975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7" name="Line 6">
            <a:extLst>
              <a:ext uri="{FF2B5EF4-FFF2-40B4-BE49-F238E27FC236}">
                <a16:creationId xmlns:a16="http://schemas.microsoft.com/office/drawing/2014/main" id="{F205C41E-3951-C229-3BBF-A725ABB0B77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530054" y="3399776"/>
            <a:ext cx="1759328" cy="190741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8" name="Line 6">
            <a:extLst>
              <a:ext uri="{FF2B5EF4-FFF2-40B4-BE49-F238E27FC236}">
                <a16:creationId xmlns:a16="http://schemas.microsoft.com/office/drawing/2014/main" id="{66E0951A-5464-2E21-723F-40FD8489B6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882711" y="3380707"/>
            <a:ext cx="2339900" cy="405969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9" name="Line 13">
            <a:extLst>
              <a:ext uri="{FF2B5EF4-FFF2-40B4-BE49-F238E27FC236}">
                <a16:creationId xmlns:a16="http://schemas.microsoft.com/office/drawing/2014/main" id="{3F9A44A1-CCD4-2D3E-0E85-D046296D80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039676" y="3380707"/>
            <a:ext cx="1275608" cy="1627023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31" name="Line 13">
            <a:extLst>
              <a:ext uri="{FF2B5EF4-FFF2-40B4-BE49-F238E27FC236}">
                <a16:creationId xmlns:a16="http://schemas.microsoft.com/office/drawing/2014/main" id="{FEC17947-8958-78ED-0AE7-D66DDBCAE024}"/>
              </a:ext>
            </a:extLst>
          </p:cNvPr>
          <p:cNvSpPr>
            <a:spLocks noChangeShapeType="1"/>
          </p:cNvSpPr>
          <p:nvPr/>
        </p:nvSpPr>
        <p:spPr bwMode="auto">
          <a:xfrm>
            <a:off x="7318834" y="3398519"/>
            <a:ext cx="43985" cy="877705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051" name="TextBox 2050">
            <a:extLst>
              <a:ext uri="{FF2B5EF4-FFF2-40B4-BE49-F238E27FC236}">
                <a16:creationId xmlns:a16="http://schemas.microsoft.com/office/drawing/2014/main" id="{EAE34AE1-AC6F-22F1-E047-1CAD5563A87D}"/>
              </a:ext>
            </a:extLst>
          </p:cNvPr>
          <p:cNvSpPr txBox="1"/>
          <p:nvPr/>
        </p:nvSpPr>
        <p:spPr>
          <a:xfrm>
            <a:off x="115236" y="228600"/>
            <a:ext cx="8958797" cy="14219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dirty="0">
                <a:latin typeface="+mn-lt"/>
              </a:rPr>
              <a:t>FRB anti-inflation tightening: Mar 2022– Nov 2022, </a:t>
            </a:r>
            <a:r>
              <a:rPr lang="en-US" sz="2800" dirty="0"/>
              <a:t>EMP↓ </a:t>
            </a:r>
            <a:endParaRPr lang="en-US" sz="900" dirty="0"/>
          </a:p>
          <a:p>
            <a:pPr algn="ctr">
              <a:lnSpc>
                <a:spcPct val="90000"/>
              </a:lnSpc>
            </a:pPr>
            <a:br>
              <a:rPr lang="en-US" sz="800" dirty="0">
                <a:solidFill>
                  <a:srgbClr val="7030A0"/>
                </a:solidFill>
                <a:latin typeface="+mn-lt"/>
              </a:rPr>
            </a:br>
            <a:endParaRPr lang="en-US" sz="800" dirty="0">
              <a:solidFill>
                <a:srgbClr val="7030A0"/>
              </a:solidFill>
              <a:latin typeface="+mn-lt"/>
            </a:endParaRPr>
          </a:p>
          <a:p>
            <a:pPr algn="ctr">
              <a:lnSpc>
                <a:spcPct val="90000"/>
              </a:lnSpc>
            </a:pPr>
            <a:r>
              <a:rPr lang="en-US" sz="2600" dirty="0">
                <a:solidFill>
                  <a:srgbClr val="7030A0"/>
                </a:solidFill>
                <a:latin typeface="+mn-lt"/>
              </a:rPr>
              <a:t>Brazil &amp; Indonesia allowed their currencies to depreciate; </a:t>
            </a:r>
          </a:p>
          <a:p>
            <a:pPr algn="ctr">
              <a:lnSpc>
                <a:spcPct val="90000"/>
              </a:lnSpc>
            </a:pPr>
            <a:r>
              <a:rPr lang="en-US" sz="2600" dirty="0">
                <a:solidFill>
                  <a:srgbClr val="C00000"/>
                </a:solidFill>
                <a:latin typeface="+mn-lt"/>
              </a:rPr>
              <a:t>Hong Kong &amp; Thailand sold $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A501B2B-A7EC-1521-8E3E-FFC4B5A08034}"/>
              </a:ext>
            </a:extLst>
          </p:cNvPr>
          <p:cNvSpPr/>
          <p:nvPr/>
        </p:nvSpPr>
        <p:spPr>
          <a:xfrm>
            <a:off x="3608070" y="1991763"/>
            <a:ext cx="2766060" cy="549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FB9FEF-B834-867B-14F7-D7BAD23D9C3D}"/>
              </a:ext>
            </a:extLst>
          </p:cNvPr>
          <p:cNvSpPr txBox="1"/>
          <p:nvPr/>
        </p:nvSpPr>
        <p:spPr>
          <a:xfrm>
            <a:off x="1663086" y="2016966"/>
            <a:ext cx="62617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Call the slope 1/</a:t>
            </a:r>
            <a:r>
              <a:rPr lang="el-GR" sz="2000" b="1" dirty="0"/>
              <a:t>φ</a:t>
            </a:r>
            <a:r>
              <a:rPr lang="en-US" sz="2000" b="1" dirty="0"/>
              <a:t> ≡ aggressiveness of </a:t>
            </a:r>
            <a:r>
              <a:rPr lang="en-US" sz="2000" b="1" dirty="0" err="1"/>
              <a:t>fx</a:t>
            </a:r>
            <a:r>
              <a:rPr lang="en-US" sz="2000" b="1" dirty="0"/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2487599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0" grpId="0" animBg="1"/>
      <p:bldP spid="26" grpId="0" animBg="1"/>
      <p:bldP spid="27" grpId="0" animBg="1"/>
      <p:bldP spid="28" grpId="0" animBg="1"/>
      <p:bldP spid="29" grpId="0" animBg="1"/>
      <p:bldP spid="31" grpId="0" animBg="1"/>
      <p:bldP spid="1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>
            <a:normAutofit/>
          </a:bodyPr>
          <a:lstStyle/>
          <a:p>
            <a:r>
              <a:rPr lang="en-US" sz="3000" dirty="0"/>
              <a:t>Why choose a systematically managed float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371600"/>
            <a:ext cx="8229600" cy="518160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800" dirty="0"/>
              <a:t>Intermediate regimes allow an intermediate degree </a:t>
            </a:r>
            <a:br>
              <a:rPr lang="en-US" sz="2800" dirty="0"/>
            </a:br>
            <a:r>
              <a:rPr lang="en-US" sz="2800" dirty="0"/>
              <a:t>of monetary independence, including freedom from external shocks, in return for an intermediate degree </a:t>
            </a:r>
            <a:br>
              <a:rPr lang="en-US" sz="2800" dirty="0"/>
            </a:br>
            <a:r>
              <a:rPr lang="en-US" sz="2800" dirty="0"/>
              <a:t>of exchange rate flexibility.</a:t>
            </a:r>
            <a:endParaRPr lang="en-US" sz="900" dirty="0"/>
          </a:p>
          <a:p>
            <a:pPr marL="0" indent="0">
              <a:buNone/>
            </a:pPr>
            <a:endParaRPr lang="en-US" sz="3000" dirty="0"/>
          </a:p>
          <a:p>
            <a:pPr marL="0" indent="0">
              <a:buNone/>
            </a:pPr>
            <a:r>
              <a:rPr lang="en-US" sz="3000" dirty="0"/>
              <a:t>But</a:t>
            </a:r>
            <a:br>
              <a:rPr lang="en-US" sz="1300" dirty="0"/>
            </a:br>
            <a:br>
              <a:rPr lang="en-US" sz="1300" dirty="0"/>
            </a:br>
            <a:r>
              <a:rPr lang="en-US" sz="4300" dirty="0"/>
              <a:t>II) Four challenges:</a:t>
            </a:r>
          </a:p>
          <a:p>
            <a:pPr lvl="1"/>
            <a:r>
              <a:rPr lang="en-US" dirty="0"/>
              <a:t>(a) “the corners hypothesis,” </a:t>
            </a:r>
          </a:p>
          <a:p>
            <a:pPr lvl="1"/>
            <a:r>
              <a:rPr lang="en-US" dirty="0"/>
              <a:t>(b) “dilemma vs. trilemma,”</a:t>
            </a:r>
          </a:p>
          <a:p>
            <a:pPr lvl="1"/>
            <a:r>
              <a:rPr lang="en-US" dirty="0"/>
              <a:t>(c) “intervention ineffectiveness” and </a:t>
            </a:r>
          </a:p>
          <a:p>
            <a:pPr lvl="1"/>
            <a:r>
              <a:rPr lang="en-US" dirty="0"/>
              <a:t>(d) “exchange rate disconnect.”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4539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229600" cy="944562"/>
          </a:xfrm>
        </p:spPr>
        <p:txBody>
          <a:bodyPr>
            <a:normAutofit/>
          </a:bodyPr>
          <a:lstStyle/>
          <a:p>
            <a:r>
              <a:rPr lang="en-US" sz="2800" dirty="0"/>
              <a:t>Challenge (a): Corners Hypothe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47800"/>
            <a:ext cx="8991600" cy="4830763"/>
          </a:xfrm>
        </p:spPr>
        <p:txBody>
          <a:bodyPr>
            <a:normAutofit fontScale="92500" lnSpcReduction="20000"/>
          </a:bodyPr>
          <a:lstStyle/>
          <a:p>
            <a:r>
              <a:rPr lang="en-US" sz="2800" dirty="0"/>
              <a:t>“Intermediate regimes are increasingly unviable.”  </a:t>
            </a:r>
          </a:p>
          <a:p>
            <a:pPr lvl="1"/>
            <a:r>
              <a:rPr lang="en-US" sz="2400" dirty="0"/>
              <a:t>“Countries are forced to move to corners: free float or firm fix.”</a:t>
            </a:r>
            <a:br>
              <a:rPr lang="en-US" sz="900" dirty="0"/>
            </a:br>
            <a:r>
              <a:rPr lang="en-US" sz="900" dirty="0"/>
              <a:t>  </a:t>
            </a:r>
          </a:p>
          <a:p>
            <a:r>
              <a:rPr lang="en-US" sz="2800" dirty="0"/>
              <a:t>An impressive pedigree, </a:t>
            </a:r>
          </a:p>
          <a:p>
            <a:pPr lvl="1"/>
            <a:r>
              <a:rPr lang="en-US" sz="2400" dirty="0"/>
              <a:t>including: Eichengreen (1994), CFR (1999), Summers (1999), Meltzer (2000), and Fischer (2001).</a:t>
            </a:r>
            <a:endParaRPr lang="en-US" sz="1200" dirty="0"/>
          </a:p>
          <a:p>
            <a:pPr lvl="1"/>
            <a:endParaRPr lang="en-US" sz="1200" dirty="0"/>
          </a:p>
          <a:p>
            <a:r>
              <a:rPr lang="en-US" sz="2800" dirty="0"/>
              <a:t>But, </a:t>
            </a:r>
          </a:p>
          <a:p>
            <a:pPr lvl="1"/>
            <a:r>
              <a:rPr lang="en-US" sz="2600" dirty="0"/>
              <a:t>theoretically, there are perfectly well-developed theories </a:t>
            </a:r>
            <a:br>
              <a:rPr lang="en-US" sz="2600" dirty="0"/>
            </a:br>
            <a:r>
              <a:rPr lang="en-US" sz="2600" dirty="0"/>
              <a:t>of intermediate regimes, </a:t>
            </a:r>
          </a:p>
          <a:p>
            <a:pPr lvl="2"/>
            <a:r>
              <a:rPr lang="en-US" dirty="0"/>
              <a:t>e.g., target zones: </a:t>
            </a:r>
            <a:r>
              <a:rPr lang="en-US" sz="2300" dirty="0"/>
              <a:t>Krugman (1991);  and</a:t>
            </a:r>
          </a:p>
          <a:p>
            <a:pPr lvl="1"/>
            <a:r>
              <a:rPr lang="en-US" sz="2600" dirty="0"/>
              <a:t>empirically, intermediate regimes are now the biggest category</a:t>
            </a:r>
          </a:p>
          <a:p>
            <a:pPr lvl="2"/>
            <a:r>
              <a:rPr lang="en-US" sz="2300" dirty="0"/>
              <a:t>Ghosh, Ostry, &amp; Qureshi (2015)</a:t>
            </a:r>
          </a:p>
          <a:p>
            <a:pPr lvl="2"/>
            <a:r>
              <a:rPr lang="en-US" sz="2300" dirty="0"/>
              <a:t>Ilzetzki, Reinhart and Rogoff (2019),</a:t>
            </a:r>
          </a:p>
          <a:p>
            <a:pPr lvl="2"/>
            <a:r>
              <a:rPr lang="en-US" sz="2300" dirty="0"/>
              <a:t>though many of them remain murk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19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Title 1"/>
          <p:cNvSpPr>
            <a:spLocks noGrp="1"/>
          </p:cNvSpPr>
          <p:nvPr>
            <p:ph type="title"/>
          </p:nvPr>
        </p:nvSpPr>
        <p:spPr>
          <a:xfrm>
            <a:off x="457200" y="1444625"/>
            <a:ext cx="8382000" cy="612775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0" tIns="0" rIns="0" bIns="0" anchor="t" anchorCtr="0">
            <a:no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6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1600" b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1600" b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1600" b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1600" b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</a:defRPr>
            </a:lvl9pPr>
          </a:lstStyle>
          <a:p>
            <a:pPr lvl="0"/>
            <a:r>
              <a:rPr lang="en-US" alt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De Facto Exchange Rate Arrangements, 1946–2016</a:t>
            </a:r>
            <a:br>
              <a:rPr lang="en-US" alt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sz="1800" b="0" dirty="0">
                <a:latin typeface="Calibri" panose="020F0502020204030204" pitchFamily="34" charset="0"/>
                <a:cs typeface="Calibri" panose="020F0502020204030204" pitchFamily="34" charset="0"/>
              </a:rPr>
              <a:t>Coarse Classification: Share of World GDP in Each Group</a:t>
            </a:r>
            <a:r>
              <a:rPr lang="en-US" altLang="en-US" b="0" dirty="0"/>
              <a:t>
</a:t>
            </a:r>
          </a:p>
        </p:txBody>
      </p:sp>
      <p:pic>
        <p:nvPicPr>
          <p:cNvPr id="5125" name="New picture"/>
          <p:cNvPicPr/>
          <p:nvPr/>
        </p:nvPicPr>
        <p:blipFill>
          <a:blip r:embed="rId3"/>
          <a:stretch>
            <a:fillRect/>
          </a:stretch>
        </p:blipFill>
        <p:spPr>
          <a:xfrm>
            <a:off x="381000" y="2171700"/>
            <a:ext cx="8305800" cy="4000500"/>
          </a:xfrm>
          <a:prstGeom prst="rect">
            <a:avLst/>
          </a:prstGeom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2E5E9BC9-FC0B-4425-B376-D2D488A91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19984" y="6494366"/>
            <a:ext cx="597700" cy="168467"/>
          </a:xfrm>
          <a:prstGeom prst="rect">
            <a:avLst/>
          </a:prstGeom>
          <a:noFill/>
          <a:ln>
            <a:noFill/>
            <a:miter lim="800000"/>
          </a:ln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29EC5B4-1886-43CB-877E-60469F0DDB26}"/>
              </a:ext>
            </a:extLst>
          </p:cNvPr>
          <p:cNvCxnSpPr>
            <a:cxnSpLocks/>
          </p:cNvCxnSpPr>
          <p:nvPr/>
        </p:nvCxnSpPr>
        <p:spPr>
          <a:xfrm flipV="1">
            <a:off x="6629400" y="3543300"/>
            <a:ext cx="1828800" cy="285008"/>
          </a:xfrm>
          <a:prstGeom prst="straightConnector1">
            <a:avLst/>
          </a:prstGeom>
          <a:ln w="920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A07463F-DE76-49BC-AE32-C7D3F75B1656}"/>
              </a:ext>
            </a:extLst>
          </p:cNvPr>
          <p:cNvCxnSpPr>
            <a:cxnSpLocks/>
          </p:cNvCxnSpPr>
          <p:nvPr/>
        </p:nvCxnSpPr>
        <p:spPr>
          <a:xfrm>
            <a:off x="6629400" y="4800600"/>
            <a:ext cx="1828800" cy="548991"/>
          </a:xfrm>
          <a:prstGeom prst="straightConnector1">
            <a:avLst/>
          </a:prstGeom>
          <a:ln w="920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CA0ECD-CC2F-4A54-9CBC-F961193D6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07E80-D60E-4290-98A7-5CAD2AFBE753}" type="slidenum">
              <a:rPr lang="en-US" smtClean="0">
                <a:solidFill>
                  <a:schemeClr val="tx1"/>
                </a:solidFill>
              </a:rPr>
              <a:t>13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9E83AC12-2D13-4142-A78F-8CF7C1A02858}"/>
              </a:ext>
            </a:extLst>
          </p:cNvPr>
          <p:cNvSpPr txBox="1">
            <a:spLocks/>
          </p:cNvSpPr>
          <p:nvPr/>
        </p:nvSpPr>
        <p:spPr>
          <a:xfrm>
            <a:off x="2521724" y="6087094"/>
            <a:ext cx="5772202" cy="694706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vert="horz" lIns="180000" tIns="0" rIns="180000" bIns="0" rtlCol="0" anchor="ctr" anchorCtr="0">
            <a:noAutofit/>
          </a:bodyPr>
          <a:lstStyle>
            <a:defPPr>
              <a:defRPr lang="en-US"/>
            </a:defPPr>
            <a:lvl1pPr marL="342900" indent="-3429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en-US" altLang="en-US"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–"/>
              <a:defRPr kumimoji="0" lang="en-US" altLang="en-US"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en-US" altLang="en-US" sz="12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–"/>
              <a:defRPr kumimoji="0" lang="en-US" altLang="en-US" sz="12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»"/>
              <a:defRPr kumimoji="0" lang="en-US" altLang="en-US" sz="11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lzetzki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 Reinhart &amp; Rogoff, 2019, </a:t>
            </a:r>
            <a:r>
              <a:rPr lang="en-US" sz="2000" i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JE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2000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33C45FF-E35C-FA61-10E2-CDF063E77ABA}"/>
              </a:ext>
            </a:extLst>
          </p:cNvPr>
          <p:cNvSpPr txBox="1">
            <a:spLocks/>
          </p:cNvSpPr>
          <p:nvPr/>
        </p:nvSpPr>
        <p:spPr>
          <a:xfrm>
            <a:off x="533400" y="533400"/>
            <a:ext cx="8153400" cy="8257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+mn-lt"/>
              </a:rPr>
              <a:t>The share of intermediate regimes rose after 2000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A1B41E-7D3E-183B-A9EF-85C572CE99DF}"/>
              </a:ext>
            </a:extLst>
          </p:cNvPr>
          <p:cNvSpPr txBox="1">
            <a:spLocks/>
          </p:cNvSpPr>
          <p:nvPr/>
        </p:nvSpPr>
        <p:spPr>
          <a:xfrm>
            <a:off x="457200" y="76200"/>
            <a:ext cx="8229600" cy="612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>
                    <a:lumMod val="75000"/>
                  </a:schemeClr>
                </a:solidFill>
              </a:rPr>
              <a:t>Challenge (a): Corners Hypothesi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1276" y="1381313"/>
            <a:ext cx="6327775" cy="5142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699265" y="543580"/>
            <a:ext cx="53018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The Trilemma, or Impossible Trinity</a:t>
            </a:r>
            <a:endParaRPr lang="en-US" sz="2800" dirty="0">
              <a:latin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657600" y="1846813"/>
            <a:ext cx="3276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latin typeface="+mn-lt"/>
              </a:rPr>
              <a:t>Full capital control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739631" y="5160536"/>
            <a:ext cx="8803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Firm fix</a:t>
            </a:r>
            <a:endParaRPr lang="en-US" i="1" dirty="0"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18976" y="5084336"/>
            <a:ext cx="1276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latin typeface="+mn-lt"/>
              </a:rPr>
              <a:t>Pure Floa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651886" y="4497719"/>
            <a:ext cx="798617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dirty="0">
                <a:solidFill>
                  <a:srgbClr val="007033"/>
                </a:solidFill>
                <a:latin typeface="+mn-lt"/>
              </a:rPr>
              <a:t>•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287774" y="1524000"/>
            <a:ext cx="798617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dirty="0">
                <a:solidFill>
                  <a:srgbClr val="007033"/>
                </a:solidFill>
              </a:rPr>
              <a:t>•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988128" y="4529026"/>
            <a:ext cx="798617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dirty="0">
                <a:solidFill>
                  <a:srgbClr val="007033"/>
                </a:solidFill>
                <a:latin typeface="+mn-lt"/>
              </a:rPr>
              <a:t>•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4690193" y="3209564"/>
            <a:ext cx="3767" cy="1112772"/>
          </a:xfrm>
          <a:prstGeom prst="straightConnector1">
            <a:avLst/>
          </a:prstGeom>
          <a:ln w="76200">
            <a:solidFill>
              <a:srgbClr val="00703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1752600" y="6140073"/>
            <a:ext cx="685800" cy="1845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456412" y="6477000"/>
            <a:ext cx="6392188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4692023" y="3657600"/>
            <a:ext cx="3767" cy="1112772"/>
          </a:xfrm>
          <a:prstGeom prst="straightConnector1">
            <a:avLst/>
          </a:prstGeom>
          <a:ln w="76200">
            <a:solidFill>
              <a:srgbClr val="00703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3"/>
          <p:cNvSpPr>
            <a:spLocks noChangeArrowheads="1"/>
          </p:cNvSpPr>
          <p:nvPr/>
        </p:nvSpPr>
        <p:spPr bwMode="auto">
          <a:xfrm>
            <a:off x="228600" y="1088647"/>
            <a:ext cx="8458200" cy="8002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anchor="ctr">
            <a:spAutoFit/>
          </a:bodyPr>
          <a:lstStyle/>
          <a:p>
            <a:r>
              <a:rPr lang="en-US" sz="2400" dirty="0">
                <a:latin typeface="+mn-lt"/>
              </a:rPr>
              <a:t>At each corner of the triangle,  it is possible to obtain 2 attributes.</a:t>
            </a:r>
            <a:endParaRPr lang="en-US" dirty="0"/>
          </a:p>
          <a:p>
            <a:endParaRPr lang="en-US" sz="1200" dirty="0"/>
          </a:p>
          <a:p>
            <a:endParaRPr lang="en-US" sz="1000" dirty="0">
              <a:latin typeface="+mn-lt"/>
            </a:endParaRPr>
          </a:p>
        </p:txBody>
      </p:sp>
      <p:sp>
        <p:nvSpPr>
          <p:cNvPr id="20" name="Rectangle 3"/>
          <p:cNvSpPr>
            <a:spLocks noChangeArrowheads="1"/>
          </p:cNvSpPr>
          <p:nvPr/>
        </p:nvSpPr>
        <p:spPr bwMode="auto">
          <a:xfrm>
            <a:off x="3523634" y="1397169"/>
            <a:ext cx="2156361" cy="507831"/>
          </a:xfrm>
          <a:prstGeom prst="rect">
            <a:avLst/>
          </a:prstGeom>
          <a:noFill/>
          <a:ln>
            <a:noFill/>
          </a:ln>
        </p:spPr>
        <p:txBody>
          <a:bodyPr wrap="none" anchor="ctr">
            <a:spAutoFit/>
          </a:bodyPr>
          <a:lstStyle/>
          <a:p>
            <a:pPr algn="ctr"/>
            <a:r>
              <a:rPr lang="en-US" sz="2400" dirty="0">
                <a:latin typeface="+mn-lt"/>
              </a:rPr>
              <a:t>     But not all 3.</a:t>
            </a:r>
            <a:r>
              <a:rPr lang="en-US" sz="800" dirty="0">
                <a:latin typeface="+mn-lt"/>
              </a:rPr>
              <a:t>.</a:t>
            </a:r>
            <a:r>
              <a:rPr lang="en-US" sz="300" dirty="0">
                <a:latin typeface="+mn-lt"/>
              </a:rPr>
              <a:t>  </a:t>
            </a:r>
          </a:p>
          <a:p>
            <a:pPr algn="ctr"/>
            <a:r>
              <a:rPr lang="en-US" sz="300" dirty="0">
                <a:latin typeface="+mn-lt"/>
              </a:rPr>
              <a:t> 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71124" y="6031675"/>
            <a:ext cx="5596276" cy="492443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endParaRPr lang="en-US" sz="200" b="1" dirty="0">
              <a:solidFill>
                <a:srgbClr val="005024"/>
              </a:solidFill>
            </a:endParaRPr>
          </a:p>
          <a:p>
            <a:r>
              <a:rPr lang="en-US" sz="2400" b="1" dirty="0">
                <a:solidFill>
                  <a:srgbClr val="005024"/>
                </a:solidFill>
              </a:rPr>
              <a:t>=&gt;   Forced to choose between corners?   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62600" y="6063006"/>
            <a:ext cx="3333990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7030A0"/>
                </a:solidFill>
              </a:rPr>
              <a:t>No. Triangles have sides!</a:t>
            </a: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4832974" y="4743236"/>
            <a:ext cx="1281170" cy="426011"/>
          </a:xfrm>
          <a:prstGeom prst="straightConnector1">
            <a:avLst/>
          </a:prstGeom>
          <a:ln w="57150">
            <a:solidFill>
              <a:srgbClr val="00703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H="1">
            <a:off x="3306894" y="4750182"/>
            <a:ext cx="1295399" cy="390164"/>
          </a:xfrm>
          <a:prstGeom prst="straightConnector1">
            <a:avLst/>
          </a:prstGeom>
          <a:ln w="57150">
            <a:solidFill>
              <a:srgbClr val="00703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arallelogram 27"/>
          <p:cNvSpPr/>
          <p:nvPr/>
        </p:nvSpPr>
        <p:spPr>
          <a:xfrm rot="6011097">
            <a:off x="5188268" y="4234376"/>
            <a:ext cx="555439" cy="1386088"/>
          </a:xfrm>
          <a:prstGeom prst="parallelogram">
            <a:avLst>
              <a:gd name="adj" fmla="val 5095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arallelogram 30"/>
          <p:cNvSpPr/>
          <p:nvPr/>
        </p:nvSpPr>
        <p:spPr>
          <a:xfrm rot="3613452">
            <a:off x="3634159" y="4242442"/>
            <a:ext cx="559510" cy="1386088"/>
          </a:xfrm>
          <a:prstGeom prst="parallelogram">
            <a:avLst>
              <a:gd name="adj" fmla="val 5095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4278084" y="4493161"/>
            <a:ext cx="798617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dirty="0">
                <a:solidFill>
                  <a:srgbClr val="7030A0"/>
                </a:solidFill>
              </a:rPr>
              <a:t>•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661230" y="5512582"/>
            <a:ext cx="2097818" cy="5078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i="1" dirty="0"/>
              <a:t>Intermediate regime</a:t>
            </a:r>
            <a:endParaRPr lang="en-US" sz="900" i="1" dirty="0"/>
          </a:p>
          <a:p>
            <a:endParaRPr lang="en-US" sz="900" i="1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14</a:t>
            </a:fld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670F2E6-1819-DAF6-0025-2157C29BB32D}"/>
              </a:ext>
            </a:extLst>
          </p:cNvPr>
          <p:cNvSpPr txBox="1">
            <a:spLocks/>
          </p:cNvSpPr>
          <p:nvPr/>
        </p:nvSpPr>
        <p:spPr>
          <a:xfrm>
            <a:off x="457200" y="76200"/>
            <a:ext cx="8229600" cy="612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>
                    <a:lumMod val="75000"/>
                  </a:schemeClr>
                </a:solidFill>
              </a:rPr>
              <a:t>Challenge (a): Corners Hypothesis</a:t>
            </a:r>
          </a:p>
        </p:txBody>
      </p:sp>
    </p:spTree>
    <p:extLst>
      <p:ext uri="{BB962C8B-B14F-4D97-AF65-F5344CB8AC3E}">
        <p14:creationId xmlns:p14="http://schemas.microsoft.com/office/powerpoint/2010/main" val="2377077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7" grpId="0"/>
      <p:bldP spid="4" grpId="0"/>
      <p:bldP spid="10" grpId="0"/>
      <p:bldP spid="11" grpId="0"/>
      <p:bldP spid="8" grpId="0" animBg="1"/>
      <p:bldP spid="22" grpId="0" animBg="1"/>
      <p:bldP spid="28" grpId="0" animBg="1"/>
      <p:bldP spid="31" grpId="0" animBg="1"/>
      <p:bldP spid="32" grpId="0"/>
      <p:bldP spid="3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/>
          </a:bodyPr>
          <a:lstStyle/>
          <a:p>
            <a:r>
              <a:rPr lang="en-US" sz="3000" dirty="0"/>
              <a:t>Challenge (b): “Dilemma not trilemma”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0" y="1211966"/>
            <a:ext cx="9144000" cy="4045834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sz="2700" dirty="0"/>
              <a:t>Challenge to trilemma from Rey (2014)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200" dirty="0"/>
              <a:t>and Agrippino &amp; Rey (2014), Farhi &amp; Werning (2014), Edwards (2015).</a:t>
            </a:r>
            <a:br>
              <a:rPr lang="en-US" sz="400" dirty="0"/>
            </a:br>
            <a:endParaRPr lang="en-US" sz="400" dirty="0"/>
          </a:p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sz="2700" dirty="0"/>
              <a:t>Claim: Floating rates don’t offer insulation </a:t>
            </a:r>
            <a:br>
              <a:rPr lang="en-US" sz="2700" dirty="0"/>
            </a:br>
            <a:r>
              <a:rPr lang="en-US" sz="2700" dirty="0"/>
              <a:t>from external shocks 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000" dirty="0"/>
              <a:t>such as </a:t>
            </a:r>
            <a:r>
              <a:rPr lang="en-US" sz="2000" i="1" dirty="0" err="1"/>
              <a:t>i</a:t>
            </a:r>
            <a:r>
              <a:rPr lang="en-US" sz="2000" baseline="-25000" dirty="0" err="1"/>
              <a:t>US</a:t>
            </a:r>
            <a:r>
              <a:rPr lang="en-US" sz="500" dirty="0"/>
              <a:t>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Cambria Math"/>
                <a:ea typeface="Cambria Math"/>
              </a:rPr>
              <a:t>⬆</a:t>
            </a:r>
            <a:r>
              <a:rPr lang="en-US" sz="2000" dirty="0"/>
              <a:t> or VIX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Cambria Math"/>
                <a:ea typeface="Cambria Math"/>
              </a:rPr>
              <a:t>⬆</a:t>
            </a:r>
            <a:r>
              <a:rPr lang="en-US" sz="2000" dirty="0"/>
              <a:t>.</a:t>
            </a:r>
            <a:br>
              <a:rPr lang="en-US" sz="500" dirty="0"/>
            </a:br>
            <a:br>
              <a:rPr lang="en-US" sz="500" dirty="0"/>
            </a:br>
            <a:br>
              <a:rPr lang="en-US" sz="500" dirty="0"/>
            </a:br>
            <a:endParaRPr lang="en-US" sz="500" dirty="0"/>
          </a:p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sz="2700" dirty="0"/>
              <a:t>The triangle collapses into </a:t>
            </a:r>
            <a:br>
              <a:rPr lang="en-US" sz="2700" dirty="0"/>
            </a:br>
            <a:r>
              <a:rPr lang="en-US" sz="2700" dirty="0"/>
              <a:t>a single line segment, with </a:t>
            </a:r>
            <a:br>
              <a:rPr lang="en-US" sz="2700" dirty="0"/>
            </a:br>
            <a:r>
              <a:rPr lang="en-US" sz="2700" dirty="0"/>
              <a:t>the choice of exchange </a:t>
            </a:r>
            <a:br>
              <a:rPr lang="en-US" sz="2700" dirty="0"/>
            </a:br>
            <a:r>
              <a:rPr lang="en-US" sz="2700" dirty="0"/>
              <a:t>rate regime not relevant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343400" y="2476195"/>
            <a:ext cx="205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latin typeface="+mn-lt"/>
              </a:rPr>
              <a:t>Full capital control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937051" y="2249049"/>
            <a:ext cx="5014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007033"/>
                </a:solidFill>
              </a:rPr>
              <a:t>•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76319" y="3849249"/>
            <a:ext cx="5014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007033"/>
                </a:solidFill>
              </a:rPr>
              <a:t>•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562600" y="4770060"/>
            <a:ext cx="228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latin typeface="+mn-lt"/>
              </a:rPr>
              <a:t>Open capital markets</a:t>
            </a:r>
          </a:p>
        </p:txBody>
      </p:sp>
      <p:cxnSp>
        <p:nvCxnSpPr>
          <p:cNvPr id="14" name="Straight Connector 13"/>
          <p:cNvCxnSpPr>
            <a:cxnSpLocks/>
          </p:cNvCxnSpPr>
          <p:nvPr/>
        </p:nvCxnSpPr>
        <p:spPr>
          <a:xfrm flipH="1" flipV="1">
            <a:off x="5473718" y="3209109"/>
            <a:ext cx="955390" cy="129540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5715000" y="2819400"/>
            <a:ext cx="34290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rgbClr val="0070C0"/>
                </a:solidFill>
              </a:rPr>
              <a:t>Monetary independence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728496" y="4072385"/>
            <a:ext cx="1729704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b="1" dirty="0">
                <a:solidFill>
                  <a:srgbClr val="0070C0"/>
                </a:solidFill>
              </a:rPr>
              <a:t>     Monetary </a:t>
            </a:r>
            <a:br>
              <a:rPr lang="en-US" sz="2200" b="1" dirty="0">
                <a:solidFill>
                  <a:srgbClr val="0070C0"/>
                </a:solidFill>
              </a:rPr>
            </a:br>
            <a:r>
              <a:rPr lang="en-US" sz="2200" b="1" dirty="0">
                <a:solidFill>
                  <a:srgbClr val="0070C0"/>
                </a:solidFill>
              </a:rPr>
              <a:t>dependence </a:t>
            </a:r>
          </a:p>
        </p:txBody>
      </p:sp>
      <p:sp>
        <p:nvSpPr>
          <p:cNvPr id="17" name="Content Placeholder 3"/>
          <p:cNvSpPr txBox="1">
            <a:spLocks/>
          </p:cNvSpPr>
          <p:nvPr/>
        </p:nvSpPr>
        <p:spPr>
          <a:xfrm>
            <a:off x="76200" y="4876800"/>
            <a:ext cx="8229600" cy="2262717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300" dirty="0"/>
              <a:t>But some say floating </a:t>
            </a:r>
            <a:r>
              <a:rPr lang="en-US" sz="5300" i="1" dirty="0"/>
              <a:t>does</a:t>
            </a:r>
            <a:br>
              <a:rPr lang="en-US" sz="5300" i="1" dirty="0"/>
            </a:br>
            <a:r>
              <a:rPr lang="en-US" sz="5300" dirty="0"/>
              <a:t>allow monetary independence: </a:t>
            </a:r>
          </a:p>
          <a:p>
            <a:pPr lvl="1"/>
            <a:r>
              <a:rPr lang="en-US" sz="4200" dirty="0"/>
              <a:t>Aizenman, Chinn, &amp; Ito (2010, 2011), Eichengreen et al (2020), Di Giovanni &amp; Shambaugh (2008), Klein &amp; Shambaugh (2012, 2015), Obstfeld (2015), Obstfeld, et al (2017), Obstfeld, Shambaugh &amp; Taylor (2005), Shambaugh (2004), and Frankel, Schmukler &amp; Servén (2004).</a:t>
            </a:r>
            <a:br>
              <a:rPr lang="en-US" sz="3400" dirty="0"/>
            </a:br>
            <a:endParaRPr lang="en-US" sz="3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274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15" grpId="0"/>
      <p:bldP spid="16" grpId="0"/>
      <p:bldP spid="1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1143000"/>
          </a:xfrm>
        </p:spPr>
        <p:txBody>
          <a:bodyPr>
            <a:normAutofit/>
          </a:bodyPr>
          <a:lstStyle/>
          <a:p>
            <a:r>
              <a:rPr lang="en-US" sz="3000" dirty="0"/>
              <a:t>Challenge (c): “FX intervention is powerless </a:t>
            </a:r>
            <a:br>
              <a:rPr lang="en-US" sz="3000" dirty="0"/>
            </a:br>
            <a:r>
              <a:rPr lang="en-US" sz="3000" dirty="0"/>
              <a:t>to affect nominal exchange rates”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981200"/>
            <a:ext cx="8915400" cy="4267200"/>
          </a:xfrm>
        </p:spPr>
        <p:txBody>
          <a:bodyPr>
            <a:normAutofit/>
          </a:bodyPr>
          <a:lstStyle/>
          <a:p>
            <a:r>
              <a:rPr lang="en-US" sz="2800" dirty="0"/>
              <a:t>“</a:t>
            </a:r>
            <a:r>
              <a:rPr lang="en-US" sz="3000" dirty="0"/>
              <a:t>unless it is non-sterilized, </a:t>
            </a:r>
          </a:p>
          <a:p>
            <a:pPr lvl="2"/>
            <a:r>
              <a:rPr lang="en-US" dirty="0"/>
              <a:t>in which case it is just another kind of monetary policy.”</a:t>
            </a:r>
            <a:endParaRPr lang="en-US" sz="1600" dirty="0"/>
          </a:p>
          <a:p>
            <a:pPr lvl="2"/>
            <a:endParaRPr lang="en-US" sz="1600" dirty="0"/>
          </a:p>
          <a:p>
            <a:r>
              <a:rPr lang="en-US" sz="3000" dirty="0"/>
              <a:t>But many EME studies show intervention has effects:</a:t>
            </a:r>
          </a:p>
          <a:p>
            <a:pPr lvl="2"/>
            <a:r>
              <a:rPr lang="en-US" dirty="0"/>
              <a:t>Fratzscher et al (2016), Adler, Lisack &amp; Mano (2015), </a:t>
            </a:r>
            <a:br>
              <a:rPr lang="en-US" dirty="0"/>
            </a:br>
            <a:r>
              <a:rPr lang="en-US" dirty="0"/>
              <a:t>Adler &amp; Tovar (2011), Blanchard, Adler, &amp; de Carvalho </a:t>
            </a:r>
            <a:br>
              <a:rPr lang="en-US" dirty="0"/>
            </a:br>
            <a:r>
              <a:rPr lang="en-US" dirty="0"/>
              <a:t>Filho (2015), Daude, Levy-Yeyati &amp; Nagengast (2014), </a:t>
            </a:r>
            <a:br>
              <a:rPr lang="en-US" dirty="0"/>
            </a:br>
            <a:r>
              <a:rPr lang="en-US" dirty="0"/>
              <a:t>and Disyatat &amp; Galati (2007).  Survey by Menkhoff (2013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933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000" dirty="0"/>
              <a:t>Challenge (d): “Exchange rate disconnect”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47800"/>
            <a:ext cx="8839200" cy="5333999"/>
          </a:xfrm>
        </p:spPr>
        <p:txBody>
          <a:bodyPr>
            <a:normAutofit fontScale="92500"/>
          </a:bodyPr>
          <a:lstStyle/>
          <a:p>
            <a:r>
              <a:rPr lang="en-US" sz="3100" dirty="0"/>
              <a:t>Claim: The nominal exchange rate has no implications for real economic factors such as the real exchange rate, trade, or output.  </a:t>
            </a:r>
            <a:br>
              <a:rPr lang="en-US" sz="600" dirty="0"/>
            </a:br>
            <a:endParaRPr lang="en-US" sz="600" dirty="0"/>
          </a:p>
          <a:p>
            <a:r>
              <a:rPr lang="en-US" sz="3100" dirty="0"/>
              <a:t>Empirical studies often fail to find correlations between </a:t>
            </a:r>
            <a:br>
              <a:rPr lang="en-US" sz="3100" dirty="0"/>
            </a:br>
            <a:r>
              <a:rPr lang="en-US" sz="3100" dirty="0"/>
              <a:t>nominal exchange rates and real fundamentals.  </a:t>
            </a:r>
          </a:p>
          <a:p>
            <a:pPr lvl="1"/>
            <a:r>
              <a:rPr lang="en-US" sz="2400" dirty="0"/>
              <a:t>E.g., Flood &amp; Rose (1999), Devereux &amp; Engel (2002) and Rose (2011).</a:t>
            </a:r>
            <a:br>
              <a:rPr lang="en-US" sz="600" dirty="0"/>
            </a:br>
            <a:endParaRPr lang="en-US" sz="600" dirty="0"/>
          </a:p>
          <a:p>
            <a:r>
              <a:rPr lang="en-US" sz="3100" dirty="0"/>
              <a:t>Some say shocks have the same effect on the real exchange rate </a:t>
            </a:r>
            <a:r>
              <a:rPr lang="en-US" dirty="0"/>
              <a:t>regardless whether floating or fixed. </a:t>
            </a:r>
            <a:br>
              <a:rPr lang="en-US" sz="600" dirty="0"/>
            </a:br>
            <a:endParaRPr lang="en-US" sz="600" dirty="0"/>
          </a:p>
          <a:p>
            <a:r>
              <a:rPr lang="en-US" sz="3100" dirty="0"/>
              <a:t>We can test the null hypothesis that the exchange rate regime doesn’t matter for the real exchange ra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297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000" dirty="0"/>
              <a:t>(III)  Classification schem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600200"/>
            <a:ext cx="8610600" cy="480060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It is well-established that de facto regimes need not correspond to de jure.</a:t>
            </a:r>
          </a:p>
          <a:p>
            <a:pPr lvl="1"/>
            <a:r>
              <a:rPr lang="en-US" dirty="0"/>
              <a:t>What a country does in practice often differs from what it says it does officially.  </a:t>
            </a:r>
          </a:p>
          <a:p>
            <a:pPr lvl="1"/>
            <a:r>
              <a:rPr lang="en-US" dirty="0"/>
              <a:t>Consider  countries that say they fix their exchange rate.</a:t>
            </a:r>
          </a:p>
          <a:p>
            <a:pPr lvl="2"/>
            <a:r>
              <a:rPr lang="en-US" sz="2600" dirty="0"/>
              <a:t>Often in practice they adjust it when under pressure.  </a:t>
            </a:r>
          </a:p>
          <a:p>
            <a:pPr lvl="2"/>
            <a:r>
              <a:rPr lang="en-US" sz="2600" dirty="0"/>
              <a:t>“The mirage of fixed exchange rates,” </a:t>
            </a:r>
            <a:r>
              <a:rPr lang="en-US" sz="2600" dirty="0" err="1"/>
              <a:t>Obstfeld</a:t>
            </a:r>
            <a:r>
              <a:rPr lang="en-US" sz="2600" dirty="0"/>
              <a:t> &amp; Rogoff (1995). </a:t>
            </a:r>
          </a:p>
          <a:p>
            <a:pPr lvl="1"/>
            <a:r>
              <a:rPr lang="en-US" dirty="0"/>
              <a:t>Consider countries that say they float.</a:t>
            </a:r>
          </a:p>
          <a:p>
            <a:pPr lvl="2"/>
            <a:r>
              <a:rPr lang="en-US" sz="2600" dirty="0"/>
              <a:t>Often can’t refrain from intervening in the market.</a:t>
            </a:r>
          </a:p>
          <a:p>
            <a:pPr lvl="2"/>
            <a:r>
              <a:rPr lang="en-US" sz="2600" dirty="0"/>
              <a:t>“Fear of floating,” </a:t>
            </a:r>
            <a:r>
              <a:rPr lang="en-US" sz="2600" dirty="0" err="1"/>
              <a:t>Calvo</a:t>
            </a:r>
            <a:r>
              <a:rPr lang="en-US" sz="2600" dirty="0"/>
              <a:t> &amp; Reinhart (2002).</a:t>
            </a:r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029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100" dirty="0"/>
              <a:t>The discrepancies have led to studies that attempt </a:t>
            </a:r>
            <a:br>
              <a:rPr lang="en-US" sz="3100" dirty="0"/>
            </a:br>
            <a:r>
              <a:rPr lang="en-US" sz="3100" dirty="0"/>
              <a:t>to estimate and report the true de facto regimes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00200"/>
            <a:ext cx="8458200" cy="4724400"/>
          </a:xfrm>
        </p:spPr>
        <p:txBody>
          <a:bodyPr>
            <a:normAutofit/>
          </a:bodyPr>
          <a:lstStyle/>
          <a:p>
            <a:r>
              <a:rPr lang="en-US" sz="3000" dirty="0"/>
              <a:t>Some prominent de facto classification schemes:</a:t>
            </a:r>
          </a:p>
          <a:p>
            <a:pPr lvl="1"/>
            <a:r>
              <a:rPr lang="en-US" sz="2600" dirty="0"/>
              <a:t>Ghosh, </a:t>
            </a:r>
            <a:r>
              <a:rPr lang="en-US" sz="2600" dirty="0" err="1"/>
              <a:t>Gulde</a:t>
            </a:r>
            <a:r>
              <a:rPr lang="en-US" sz="2600" dirty="0"/>
              <a:t>, &amp; Wolf (2000), </a:t>
            </a:r>
            <a:r>
              <a:rPr lang="de-DE" sz="2600" dirty="0"/>
              <a:t>Reinhart &amp; Rogoff (</a:t>
            </a:r>
            <a:r>
              <a:rPr lang="en-US" sz="2600" dirty="0"/>
              <a:t>2004), </a:t>
            </a:r>
            <a:r>
              <a:rPr lang="en-US" sz="2600" dirty="0" err="1"/>
              <a:t>Bénassy-Quéré</a:t>
            </a:r>
            <a:r>
              <a:rPr lang="en-US" sz="2600" dirty="0"/>
              <a:t>, </a:t>
            </a:r>
            <a:r>
              <a:rPr lang="en-US" sz="2600" dirty="0" err="1"/>
              <a:t>Coeuré</a:t>
            </a:r>
            <a:r>
              <a:rPr lang="en-US" sz="2600" dirty="0"/>
              <a:t>, &amp; Mignon (2004), Levy-</a:t>
            </a:r>
            <a:r>
              <a:rPr lang="en-US" sz="2600" dirty="0" err="1"/>
              <a:t>Yeyati</a:t>
            </a:r>
            <a:r>
              <a:rPr lang="en-US" sz="2600" dirty="0"/>
              <a:t> &amp; Sturzenegger (2001, 2003, 2005), and </a:t>
            </a:r>
            <a:r>
              <a:rPr lang="en-US" sz="2600" dirty="0" err="1"/>
              <a:t>Ilzetzki</a:t>
            </a:r>
            <a:r>
              <a:rPr lang="en-US" sz="2600" dirty="0"/>
              <a:t>, </a:t>
            </a:r>
            <a:r>
              <a:rPr lang="de-DE" sz="2600" dirty="0"/>
              <a:t>Reinhart &amp; Rogoff (</a:t>
            </a:r>
            <a:r>
              <a:rPr lang="en-US" sz="2600" dirty="0"/>
              <a:t>2017).</a:t>
            </a:r>
            <a:br>
              <a:rPr lang="en-US" dirty="0"/>
            </a:br>
            <a:endParaRPr lang="en-US" dirty="0"/>
          </a:p>
          <a:p>
            <a:r>
              <a:rPr lang="en-US" sz="3000" dirty="0"/>
              <a:t>Surveys of the literature on classification include: </a:t>
            </a:r>
          </a:p>
          <a:p>
            <a:pPr lvl="1"/>
            <a:r>
              <a:rPr lang="en-US" sz="2600" dirty="0"/>
              <a:t>Klein &amp; </a:t>
            </a:r>
            <a:r>
              <a:rPr lang="en-US" sz="2600" dirty="0" err="1"/>
              <a:t>Shambaugh</a:t>
            </a:r>
            <a:r>
              <a:rPr lang="en-US" sz="2600" dirty="0"/>
              <a:t> (2012), </a:t>
            </a:r>
          </a:p>
          <a:p>
            <a:pPr lvl="1"/>
            <a:r>
              <a:rPr lang="en-US" sz="2600" dirty="0"/>
              <a:t>Rose (2011), </a:t>
            </a:r>
          </a:p>
          <a:p>
            <a:pPr lvl="1"/>
            <a:r>
              <a:rPr lang="en-US" sz="2600" dirty="0"/>
              <a:t>and </a:t>
            </a:r>
            <a:r>
              <a:rPr lang="en-US" sz="2600" dirty="0" err="1"/>
              <a:t>Tavlas</a:t>
            </a:r>
            <a:r>
              <a:rPr lang="en-US" sz="2600" dirty="0"/>
              <a:t>, </a:t>
            </a:r>
            <a:r>
              <a:rPr lang="en-US" sz="2600" dirty="0" err="1"/>
              <a:t>Dellas</a:t>
            </a:r>
            <a:r>
              <a:rPr lang="en-US" sz="2600" dirty="0"/>
              <a:t> &amp; Stockman (2008)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935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72CC0-4D70-3796-A5F1-CA8EDEB0FB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98438"/>
            <a:ext cx="8229600" cy="1143000"/>
          </a:xfrm>
        </p:spPr>
        <p:txBody>
          <a:bodyPr>
            <a:normAutofit/>
          </a:bodyPr>
          <a:lstStyle/>
          <a:p>
            <a:r>
              <a:rPr lang="en-US" sz="3600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ABDF32-73AA-EFE6-4009-8DFBB123E1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752600"/>
            <a:ext cx="8229600" cy="419100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ongratulations to ICMB on its 50</a:t>
            </a:r>
            <a:r>
              <a:rPr lang="en-US" baseline="30000" dirty="0"/>
              <a:t>th</a:t>
            </a:r>
            <a:r>
              <a:rPr lang="en-US" dirty="0"/>
              <a:t> birthday.</a:t>
            </a:r>
          </a:p>
          <a:p>
            <a:endParaRPr lang="en-US" dirty="0"/>
          </a:p>
          <a:p>
            <a:r>
              <a:rPr lang="en-US" dirty="0"/>
              <a:t>50 years ago, the system of pegged exchange rates ended; the world moved to floating.</a:t>
            </a:r>
            <a:br>
              <a:rPr lang="en-US" dirty="0"/>
            </a:br>
            <a:endParaRPr lang="en-US" dirty="0"/>
          </a:p>
          <a:p>
            <a:r>
              <a:rPr lang="en-US" dirty="0"/>
              <a:t>Mundell’s “Optimum Currency Areas” conception of fixed vs. floating did not consider a continu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B9C100-DACE-3B10-CA12-79F3FA2F2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821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74638"/>
            <a:ext cx="8458200" cy="1143000"/>
          </a:xfrm>
        </p:spPr>
        <p:txBody>
          <a:bodyPr>
            <a:noAutofit/>
          </a:bodyPr>
          <a:lstStyle/>
          <a:p>
            <a:r>
              <a:rPr lang="en-US" sz="2800" dirty="0"/>
              <a:t>But the de facto classification schemes, though designed to get at the “true answer,” disagree among themselves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752600"/>
            <a:ext cx="8839200" cy="4800600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Frankel (2004): </a:t>
            </a:r>
          </a:p>
          <a:p>
            <a:pPr lvl="1"/>
            <a:r>
              <a:rPr lang="en-US" dirty="0"/>
              <a:t>3 prominent schemes coincided with the IMF de jure classification only 50.4% of the time.  </a:t>
            </a:r>
          </a:p>
          <a:p>
            <a:pPr lvl="1"/>
            <a:r>
              <a:rPr lang="en-US" dirty="0"/>
              <a:t>But they coincided with each other even less, only 38.6% of the time!</a:t>
            </a:r>
          </a:p>
          <a:p>
            <a:r>
              <a:rPr lang="en-US" dirty="0" err="1"/>
              <a:t>Bénassy-Quéré</a:t>
            </a:r>
            <a:r>
              <a:rPr lang="en-US" dirty="0"/>
              <a:t>, et al (2004):</a:t>
            </a:r>
          </a:p>
          <a:p>
            <a:pPr lvl="1"/>
            <a:r>
              <a:rPr lang="en-US" dirty="0"/>
              <a:t>3 de facto schemes correlated .69 with the IMF de jure scheme,</a:t>
            </a:r>
          </a:p>
          <a:p>
            <a:pPr lvl="1"/>
            <a:r>
              <a:rPr lang="en-US" dirty="0"/>
              <a:t>but only .63 with each other.   </a:t>
            </a:r>
          </a:p>
          <a:p>
            <a:r>
              <a:rPr lang="en-US" dirty="0" err="1"/>
              <a:t>Shambaugh</a:t>
            </a:r>
            <a:r>
              <a:rPr lang="en-US" dirty="0"/>
              <a:t> (2007):</a:t>
            </a:r>
          </a:p>
          <a:p>
            <a:pPr lvl="1"/>
            <a:r>
              <a:rPr lang="en-US" dirty="0"/>
              <a:t>3 de facto schemes agreed 80 percent with the de jure listings, </a:t>
            </a:r>
          </a:p>
          <a:p>
            <a:pPr lvl="1"/>
            <a:r>
              <a:rPr lang="en-US" dirty="0"/>
              <a:t>but only 78 per cent among themselves.  </a:t>
            </a:r>
          </a:p>
          <a:p>
            <a:r>
              <a:rPr lang="en-US" dirty="0"/>
              <a:t>Klein &amp; </a:t>
            </a:r>
            <a:r>
              <a:rPr lang="en-US" dirty="0" err="1"/>
              <a:t>Shambaugh</a:t>
            </a:r>
            <a:r>
              <a:rPr lang="en-US" dirty="0"/>
              <a:t> (2011):</a:t>
            </a:r>
          </a:p>
          <a:p>
            <a:pPr lvl="1"/>
            <a:r>
              <a:rPr lang="en-US" dirty="0"/>
              <a:t>3 de facto schemes coincided with the IMF classification 62 %</a:t>
            </a:r>
          </a:p>
          <a:p>
            <a:pPr lvl="1"/>
            <a:r>
              <a:rPr lang="en-US" dirty="0"/>
              <a:t>and coincided with each other also 62 % of the tim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989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891" y="187236"/>
            <a:ext cx="8915400" cy="762000"/>
          </a:xfrm>
        </p:spPr>
        <p:txBody>
          <a:bodyPr>
            <a:normAutofit/>
          </a:bodyPr>
          <a:lstStyle/>
          <a:p>
            <a:r>
              <a:rPr lang="en-US" sz="2800" dirty="0"/>
              <a:t>Why do classification schemes give such different answer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491" y="1330236"/>
            <a:ext cx="9067800" cy="5791200"/>
          </a:xfrm>
        </p:spPr>
        <p:txBody>
          <a:bodyPr>
            <a:normAutofit/>
          </a:bodyPr>
          <a:lstStyle/>
          <a:p>
            <a:r>
              <a:rPr lang="en-US" sz="2800" dirty="0"/>
              <a:t>1. Differences in de facto regime estimation methodology.</a:t>
            </a:r>
          </a:p>
          <a:p>
            <a:pPr lvl="1"/>
            <a:r>
              <a:rPr lang="en-US" sz="2400" dirty="0"/>
              <a:t>E.g., some look simply at exchange rate variability, </a:t>
            </a:r>
          </a:p>
          <a:p>
            <a:pPr lvl="1"/>
            <a:r>
              <a:rPr lang="en-US" sz="2400" dirty="0"/>
              <a:t>while others compare it to the variability of reserves</a:t>
            </a:r>
            <a:r>
              <a:rPr lang="en-US" dirty="0"/>
              <a:t>.</a:t>
            </a:r>
          </a:p>
          <a:p>
            <a:pPr marL="914400" lvl="2" indent="0">
              <a:buNone/>
            </a:pPr>
            <a:br>
              <a:rPr lang="en-US" sz="1100" dirty="0"/>
            </a:br>
            <a:endParaRPr lang="en-US" sz="1100" dirty="0"/>
          </a:p>
          <a:p>
            <a:r>
              <a:rPr lang="en-US" sz="2800" dirty="0"/>
              <a:t>2. Frequent changes in parameters or even in regime</a:t>
            </a:r>
            <a:r>
              <a:rPr lang="en-US" sz="3000" dirty="0"/>
              <a:t>,</a:t>
            </a:r>
          </a:p>
          <a:p>
            <a:pPr lvl="1"/>
            <a:r>
              <a:rPr lang="en-US" sz="2400" dirty="0"/>
              <a:t>e.g., once a year, even among the transparent cases.</a:t>
            </a:r>
          </a:p>
          <a:p>
            <a:pPr lvl="1"/>
            <a:r>
              <a:rPr lang="en-US" sz="2400" dirty="0"/>
              <a:t>A country that follows no systematic regime for longer </a:t>
            </a:r>
            <a:br>
              <a:rPr lang="en-US" sz="2400" dirty="0"/>
            </a:br>
            <a:r>
              <a:rPr lang="en-US" sz="2400" dirty="0"/>
              <a:t>than a year at a time should perhaps be treated as</a:t>
            </a:r>
            <a:br>
              <a:rPr lang="en-US" sz="2400" dirty="0"/>
            </a:br>
            <a:r>
              <a:rPr lang="en-US" sz="2400" dirty="0"/>
              <a:t>having no systematic regime at all.</a:t>
            </a:r>
            <a:br>
              <a:rPr lang="en-US" sz="1400" dirty="0"/>
            </a:br>
            <a:r>
              <a:rPr lang="en-US" sz="1400" dirty="0"/>
              <a:t> </a:t>
            </a:r>
          </a:p>
          <a:p>
            <a:r>
              <a:rPr lang="en-US" sz="3000" dirty="0"/>
              <a:t>3. Murkiness of true regime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3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274638"/>
            <a:ext cx="8991600" cy="1143000"/>
          </a:xfrm>
        </p:spPr>
        <p:txBody>
          <a:bodyPr>
            <a:noAutofit/>
          </a:bodyPr>
          <a:lstStyle/>
          <a:p>
            <a:r>
              <a:rPr lang="en-US" sz="4000" dirty="0"/>
              <a:t>(IV) Three approaches to identifying which countries are systematic managed float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" y="1752600"/>
            <a:ext cx="8991600" cy="5181600"/>
          </a:xfrm>
        </p:spPr>
        <p:txBody>
          <a:bodyPr>
            <a:normAutofit fontScale="77500" lnSpcReduction="20000"/>
          </a:bodyPr>
          <a:lstStyle/>
          <a:p>
            <a:r>
              <a:rPr lang="en-US" sz="3400" dirty="0"/>
              <a:t>1) Regressions to estimate CB reaction function for </a:t>
            </a:r>
            <a:r>
              <a:rPr lang="en-US" sz="3400" dirty="0" err="1"/>
              <a:t>fx</a:t>
            </a:r>
            <a:r>
              <a:rPr lang="en-US" sz="3400" dirty="0"/>
              <a:t> intervention.</a:t>
            </a:r>
          </a:p>
          <a:p>
            <a:pPr lvl="1"/>
            <a:r>
              <a:rPr lang="en-US" sz="3000" dirty="0"/>
              <a:t>A big disadvantage:  Causality.</a:t>
            </a:r>
            <a:br>
              <a:rPr lang="en-US" sz="1700" dirty="0"/>
            </a:br>
            <a:endParaRPr lang="en-US" sz="1700" dirty="0"/>
          </a:p>
          <a:p>
            <a:r>
              <a:rPr lang="en-US" sz="3400" dirty="0"/>
              <a:t>2) Regressions of </a:t>
            </a:r>
            <a:r>
              <a:rPr lang="en-US" sz="3000" dirty="0" err="1"/>
              <a:t>Δ</a:t>
            </a:r>
            <a:r>
              <a:rPr lang="en-US" sz="3000" i="1" dirty="0" err="1"/>
              <a:t>s</a:t>
            </a:r>
            <a:r>
              <a:rPr lang="en-US" sz="3000" dirty="0"/>
              <a:t> against Δ</a:t>
            </a:r>
            <a:r>
              <a:rPr lang="en-US" sz="3000" i="1" dirty="0"/>
              <a:t>EMP</a:t>
            </a:r>
            <a:r>
              <a:rPr lang="en-US" sz="3000" dirty="0"/>
              <a:t>.     </a:t>
            </a:r>
            <a:r>
              <a:rPr lang="en-US" dirty="0"/>
              <a:t>Call the coefficient </a:t>
            </a:r>
            <a:r>
              <a:rPr lang="el-GR" dirty="0"/>
              <a:t>β</a:t>
            </a:r>
            <a:r>
              <a:rPr lang="en-US" dirty="0"/>
              <a:t>.  </a:t>
            </a:r>
            <a:endParaRPr lang="en-US" sz="3000" dirty="0"/>
          </a:p>
          <a:p>
            <a:pPr marL="0" indent="0">
              <a:buNone/>
            </a:pPr>
            <a:r>
              <a:rPr lang="en-US" sz="2500" dirty="0"/>
              <a:t>       where Δ</a:t>
            </a:r>
            <a:r>
              <a:rPr lang="en-US" sz="2500" i="1" dirty="0"/>
              <a:t>EMP</a:t>
            </a:r>
            <a:r>
              <a:rPr lang="en-US" sz="2500" dirty="0"/>
              <a:t> ≡ Exchange Market Pressure ≡ (</a:t>
            </a:r>
            <a:r>
              <a:rPr lang="en-US" sz="2500" dirty="0" err="1"/>
              <a:t>Δ</a:t>
            </a:r>
            <a:r>
              <a:rPr lang="en-US" sz="2500" i="1" dirty="0" err="1"/>
              <a:t>s</a:t>
            </a:r>
            <a:r>
              <a:rPr lang="en-US" sz="2500" dirty="0"/>
              <a:t> + </a:t>
            </a:r>
            <a:r>
              <a:rPr lang="el-GR" sz="2500" dirty="0"/>
              <a:t>γ</a:t>
            </a:r>
            <a:r>
              <a:rPr lang="en-US" sz="2500" dirty="0"/>
              <a:t> </a:t>
            </a:r>
            <a:r>
              <a:rPr lang="en-US" sz="2500" dirty="0" err="1"/>
              <a:t>Δ</a:t>
            </a:r>
            <a:r>
              <a:rPr lang="en-US" sz="2500" i="1" dirty="0" err="1"/>
              <a:t>Res</a:t>
            </a:r>
            <a:r>
              <a:rPr lang="en-US" sz="2500" dirty="0"/>
              <a:t> /</a:t>
            </a:r>
            <a:r>
              <a:rPr lang="en-US" sz="2500" i="1" dirty="0"/>
              <a:t>MB</a:t>
            </a:r>
            <a:r>
              <a:rPr lang="en-US" sz="2500" dirty="0"/>
              <a:t>).   </a:t>
            </a:r>
          </a:p>
          <a:p>
            <a:pPr marL="0" indent="0">
              <a:buNone/>
            </a:pPr>
            <a:r>
              <a:rPr lang="en-US" sz="2500" i="1" dirty="0"/>
              <a:t>                             s</a:t>
            </a:r>
            <a:r>
              <a:rPr lang="en-US" sz="2500" dirty="0"/>
              <a:t> ≡ log (value of currency); </a:t>
            </a:r>
            <a:br>
              <a:rPr lang="en-US" sz="2500" dirty="0"/>
            </a:br>
            <a:r>
              <a:rPr lang="en-US" sz="2500" dirty="0"/>
              <a:t>                         </a:t>
            </a:r>
            <a:r>
              <a:rPr lang="en-US" sz="2500" i="1" dirty="0"/>
              <a:t>Res</a:t>
            </a:r>
            <a:r>
              <a:rPr lang="en-US" sz="2500" dirty="0"/>
              <a:t> ≡ FX reserves;    </a:t>
            </a:r>
            <a:br>
              <a:rPr lang="en-US" sz="2500" dirty="0"/>
            </a:br>
            <a:r>
              <a:rPr lang="en-US" sz="2500" dirty="0"/>
              <a:t>                         </a:t>
            </a:r>
            <a:r>
              <a:rPr lang="en-US" sz="2500" i="1" dirty="0"/>
              <a:t>MB</a:t>
            </a:r>
            <a:r>
              <a:rPr lang="en-US" sz="2500" dirty="0"/>
              <a:t> ≡ monetary base</a:t>
            </a:r>
          </a:p>
          <a:p>
            <a:pPr lvl="1"/>
            <a:r>
              <a:rPr lang="en-US" sz="2500" dirty="0"/>
              <a:t>Include among regressors: </a:t>
            </a:r>
            <a:r>
              <a:rPr lang="el-GR" sz="2500" dirty="0"/>
              <a:t>Δ</a:t>
            </a:r>
            <a:r>
              <a:rPr lang="en-US" sz="2500" dirty="0"/>
              <a:t> values of major currencies in potential basket.</a:t>
            </a:r>
          </a:p>
          <a:p>
            <a:pPr lvl="1"/>
            <a:r>
              <a:rPr lang="en-US" sz="2500" dirty="0"/>
              <a:t>Frankel-Wei-Xie (1993-2022). </a:t>
            </a:r>
            <a:r>
              <a:rPr lang="en-US" sz="2600" dirty="0"/>
              <a:t>  </a:t>
            </a:r>
            <a:r>
              <a:rPr lang="en-US" sz="2300" dirty="0"/>
              <a:t>(Constrained </a:t>
            </a:r>
            <a:r>
              <a:rPr lang="el-GR" sz="2300" dirty="0"/>
              <a:t>γ</a:t>
            </a:r>
            <a:r>
              <a:rPr lang="en-US" sz="2300" dirty="0"/>
              <a:t> = 1.)</a:t>
            </a:r>
            <a:br>
              <a:rPr lang="en-US" sz="2100" dirty="0"/>
            </a:br>
            <a:endParaRPr lang="en-US" sz="2100" dirty="0"/>
          </a:p>
          <a:p>
            <a:r>
              <a:rPr lang="en-US" sz="3400" dirty="0"/>
              <a:t>3) Simple-minded correlation (</a:t>
            </a:r>
            <a:r>
              <a:rPr lang="en-US" sz="3400" dirty="0" err="1"/>
              <a:t>Δ</a:t>
            </a:r>
            <a:r>
              <a:rPr lang="en-US" sz="3400" i="1" dirty="0" err="1"/>
              <a:t>s</a:t>
            </a:r>
            <a:r>
              <a:rPr lang="en-US" sz="1100" dirty="0"/>
              <a:t> </a:t>
            </a:r>
            <a:r>
              <a:rPr lang="en-US" sz="3400" dirty="0"/>
              <a:t>, Δ</a:t>
            </a:r>
            <a:r>
              <a:rPr lang="en-US" sz="3400" i="1" dirty="0"/>
              <a:t>Res</a:t>
            </a:r>
            <a:r>
              <a:rPr lang="en-US" sz="1100" dirty="0"/>
              <a:t> </a:t>
            </a:r>
            <a:r>
              <a:rPr lang="en-US" sz="3400" dirty="0"/>
              <a:t>/</a:t>
            </a:r>
            <a:r>
              <a:rPr lang="en-US" sz="3400" i="1" dirty="0"/>
              <a:t>MB</a:t>
            </a:r>
            <a:r>
              <a:rPr lang="en-US" sz="3400" dirty="0"/>
              <a:t>).</a:t>
            </a:r>
          </a:p>
          <a:p>
            <a:pPr lvl="1"/>
            <a:r>
              <a:rPr lang="en-US" dirty="0"/>
              <a:t>Advantages:  </a:t>
            </a:r>
          </a:p>
          <a:p>
            <a:pPr lvl="2"/>
            <a:r>
              <a:rPr lang="en-US" sz="3000" dirty="0"/>
              <a:t>Easy</a:t>
            </a:r>
          </a:p>
          <a:p>
            <a:pPr lvl="2"/>
            <a:r>
              <a:rPr lang="en-US" sz="3000" dirty="0"/>
              <a:t>No need to presume direction of causality.</a:t>
            </a:r>
            <a:endParaRPr lang="en-US" sz="1500" dirty="0"/>
          </a:p>
          <a:p>
            <a:pPr lvl="2"/>
            <a:endParaRPr lang="en-US" sz="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8336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09600"/>
            <a:ext cx="8229600" cy="1093520"/>
          </a:xfrm>
        </p:spPr>
        <p:txBody>
          <a:bodyPr>
            <a:normAutofit/>
          </a:bodyPr>
          <a:lstStyle/>
          <a:p>
            <a:r>
              <a:rPr lang="en-US" sz="3000" dirty="0"/>
              <a:t>Simple-minded Correlation (Δ</a:t>
            </a:r>
            <a:r>
              <a:rPr lang="en-US" sz="3000" i="1" dirty="0"/>
              <a:t>s</a:t>
            </a:r>
            <a:r>
              <a:rPr lang="en-US" sz="800" dirty="0"/>
              <a:t> </a:t>
            </a:r>
            <a:r>
              <a:rPr lang="en-US" sz="3000" dirty="0"/>
              <a:t>, Δ</a:t>
            </a:r>
            <a:r>
              <a:rPr lang="en-US" sz="3000" i="1" dirty="0"/>
              <a:t>Res</a:t>
            </a:r>
            <a:r>
              <a:rPr lang="en-US" sz="3000" dirty="0"/>
              <a:t> /</a:t>
            </a:r>
            <a:r>
              <a:rPr lang="en-US" sz="3000" i="1" dirty="0"/>
              <a:t>MB</a:t>
            </a:r>
            <a:r>
              <a:rPr lang="en-US" sz="3000" dirty="0"/>
              <a:t>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381000" y="1828800"/>
                <a:ext cx="8458200" cy="5029200"/>
              </a:xfrm>
            </p:spPr>
            <p:txBody>
              <a:bodyPr>
                <a:normAutofit fontScale="77500" lnSpcReduction="20000"/>
              </a:bodyPr>
              <a:lstStyle/>
              <a:p>
                <a:r>
                  <a:rPr lang="en-US" dirty="0"/>
                  <a:t>A truly fixed exchange rate    =&gt; Correlation = 0, </a:t>
                </a:r>
              </a:p>
              <a:p>
                <a:pPr lvl="1"/>
                <a:r>
                  <a:rPr lang="en-US" dirty="0"/>
                  <a:t>because the exchange rate by definition never changes.   </a:t>
                </a:r>
                <a:br>
                  <a:rPr lang="en-US" sz="1200" dirty="0"/>
                </a:br>
                <a:endParaRPr lang="en-US" sz="1200" dirty="0"/>
              </a:p>
              <a:p>
                <a:r>
                  <a:rPr lang="en-US" dirty="0"/>
                  <a:t>A pure float    =&gt;  again, Correlation = 0, </a:t>
                </a:r>
              </a:p>
              <a:p>
                <a:pPr lvl="1"/>
                <a:r>
                  <a:rPr lang="en-US" dirty="0"/>
                  <a:t>because reserves never change. </a:t>
                </a:r>
                <a:br>
                  <a:rPr lang="en-US" sz="1200" dirty="0"/>
                </a:br>
                <a:r>
                  <a:rPr lang="en-US" sz="1200" dirty="0"/>
                  <a:t>  </a:t>
                </a:r>
              </a:p>
              <a:p>
                <a:r>
                  <a:rPr lang="en-US" dirty="0"/>
                  <a:t>Haphazard interveners should also show low correlation.</a:t>
                </a:r>
                <a:endParaRPr lang="en-US" sz="1200" dirty="0"/>
              </a:p>
              <a:p>
                <a:pPr marL="0" indent="0">
                  <a:buNone/>
                </a:pPr>
                <a:endParaRPr lang="en-US" sz="1200" dirty="0"/>
              </a:p>
              <a:p>
                <a:r>
                  <a:rPr lang="en-US" dirty="0"/>
                  <a:t>Only systematic managed floaters show high correlations.</a:t>
                </a:r>
              </a:p>
              <a:p>
                <a:pPr lvl="1"/>
                <a:r>
                  <a:rPr lang="en-US" dirty="0"/>
                  <a:t>We arbitrarily set the threshold at  &gt; 0.25.</a:t>
                </a:r>
                <a:br>
                  <a:rPr lang="en-US" sz="1200" dirty="0"/>
                </a:br>
                <a:endParaRPr lang="en-US" sz="1200" dirty="0"/>
              </a:p>
              <a:p>
                <a:r>
                  <a:rPr lang="en-US" dirty="0"/>
                  <a:t>In the hypothetical case of a perfectly systematic managed float, correlation = 1 and the relationship is proportionate:</a:t>
                </a:r>
                <a:br>
                  <a:rPr lang="en-US" dirty="0"/>
                </a:br>
                <a:r>
                  <a:rPr lang="en-US" dirty="0"/>
                  <a:t>			φ   ≡ 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nor/>
                          </m:rPr>
                          <a:rPr lang="en-US" dirty="0"/>
                          <m:t>Δ</m:t>
                        </m:r>
                        <m:r>
                          <m:rPr>
                            <m:nor/>
                          </m:rPr>
                          <a:rPr lang="en-US" i="1" dirty="0"/>
                          <m:t>s</m:t>
                        </m:r>
                      </m:num>
                      <m:den>
                        <m:r>
                          <m:rPr>
                            <m:nor/>
                          </m:rPr>
                          <a:rPr lang="en-US" dirty="0"/>
                          <m:t>Δ</m:t>
                        </m:r>
                        <m:r>
                          <m:rPr>
                            <m:nor/>
                          </m:rPr>
                          <a:rPr lang="en-US" i="1" dirty="0"/>
                          <m:t>Res</m:t>
                        </m:r>
                        <m:r>
                          <m:rPr>
                            <m:nor/>
                          </m:rPr>
                          <a:rPr lang="en-US" dirty="0"/>
                          <m:t> /</m:t>
                        </m:r>
                        <m:r>
                          <m:rPr>
                            <m:nor/>
                          </m:rPr>
                          <a:rPr lang="en-US" i="1" dirty="0"/>
                          <m:t>MB</m:t>
                        </m:r>
                      </m:den>
                    </m:f>
                    <m:r>
                      <a:rPr lang="en-US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en-US" sz="1500" b="0" i="1" dirty="0">
                    <a:latin typeface="Cambria Math"/>
                  </a:rPr>
                  <a:t>   </a:t>
                </a:r>
                <a:r>
                  <a:rPr lang="en-US" b="0" i="1" dirty="0">
                    <a:latin typeface="Cambria Math"/>
                  </a:rPr>
                  <a:t>    </a:t>
                </a:r>
                <a:r>
                  <a:rPr lang="en-US" dirty="0"/>
                  <a:t>≡</a:t>
                </a:r>
                <a14:m>
                  <m:oMath xmlns:m="http://schemas.openxmlformats.org/officeDocument/2006/math">
                    <m:r>
                      <a:rPr lang="en-US" b="0" i="0" smtClean="0">
                        <a:latin typeface="Cambria Math"/>
                      </a:rPr>
                      <m:t>  </m:t>
                    </m:r>
                    <m:r>
                      <a:rPr lang="en-US" b="0" i="1" smtClean="0">
                        <a:latin typeface="Cambria Math"/>
                      </a:rPr>
                      <m:t> 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l-GR" i="1" smtClean="0">
                            <a:latin typeface="Cambria Math"/>
                          </a:rPr>
                          <m:t>β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l-GR" b="0" i="1" smtClean="0">
                            <a:latin typeface="Cambria Math" panose="02040503050406030204" pitchFamily="18" charset="0"/>
                          </a:rPr>
                          <m:t>γ</m:t>
                        </m:r>
                      </m:num>
                      <m:den>
                        <m:r>
                          <m:rPr>
                            <m:nor/>
                          </m:rPr>
                          <a:rPr lang="en-US" b="0" i="0" dirty="0" smtClean="0">
                            <a:latin typeface="Cambria Math"/>
                          </a:rPr>
                          <m:t>(1−</m:t>
                        </m:r>
                        <m:r>
                          <m:rPr>
                            <m:sty m:val="p"/>
                          </m:rPr>
                          <a:rPr lang="el-GR" b="0" i="1" dirty="0" smtClean="0">
                            <a:latin typeface="Cambria Math"/>
                          </a:rPr>
                          <m:t>β</m:t>
                        </m:r>
                        <m:r>
                          <m:rPr>
                            <m:nor/>
                          </m:rPr>
                          <a:rPr lang="en-US" b="0" i="0" dirty="0" smtClean="0">
                            <a:latin typeface="Cambria Math"/>
                          </a:rPr>
                          <m:t>)</m:t>
                        </m:r>
                      </m:den>
                    </m:f>
                  </m:oMath>
                </a14:m>
                <a:r>
                  <a:rPr lang="en-US" dirty="0"/>
                  <a:t> </a:t>
                </a:r>
                <a:br>
                  <a:rPr lang="en-US" sz="1400" dirty="0"/>
                </a:br>
                <a:br>
                  <a:rPr lang="en-US" sz="1400" dirty="0"/>
                </a:br>
                <a:r>
                  <a:rPr lang="en-US" sz="2900" dirty="0"/>
                  <a:t>wher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2900" i="1">
                        <a:latin typeface="Cambria Math"/>
                      </a:rPr>
                      <m:t>β</m:t>
                    </m:r>
                  </m:oMath>
                </a14:m>
                <a:r>
                  <a:rPr lang="en-US" sz="2900" dirty="0"/>
                  <a:t> was the coefficient on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US" sz="2900" dirty="0"/>
                      <m:t>Δ</m:t>
                    </m:r>
                  </m:oMath>
                </a14:m>
                <a:r>
                  <a:rPr lang="en-US" sz="2900" i="1" dirty="0"/>
                  <a:t>EMP</a:t>
                </a:r>
                <a:r>
                  <a:rPr lang="en-US" sz="2900" dirty="0"/>
                  <a:t> in Frankel-Wei-</a:t>
                </a:r>
                <a:r>
                  <a:rPr lang="en-US" sz="2900" dirty="0" err="1"/>
                  <a:t>Xie</a:t>
                </a:r>
                <a:r>
                  <a:rPr lang="en-US" sz="2900" dirty="0"/>
                  <a:t> regressions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81000" y="1828800"/>
                <a:ext cx="8458200" cy="5029200"/>
              </a:xfrm>
              <a:blipFill>
                <a:blip r:embed="rId2"/>
                <a:stretch>
                  <a:fillRect l="-1081" t="-21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23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2513BE-CF59-D58E-C862-66AED46A2AB1}"/>
              </a:ext>
            </a:extLst>
          </p:cNvPr>
          <p:cNvSpPr txBox="1">
            <a:spLocks/>
          </p:cNvSpPr>
          <p:nvPr/>
        </p:nvSpPr>
        <p:spPr>
          <a:xfrm>
            <a:off x="76200" y="122238"/>
            <a:ext cx="89916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>
                    <a:lumMod val="75000"/>
                  </a:schemeClr>
                </a:solidFill>
              </a:rPr>
              <a:t>(IV) Identifying which countries are systematic managed floaters</a:t>
            </a:r>
          </a:p>
        </p:txBody>
      </p:sp>
    </p:spTree>
    <p:extLst>
      <p:ext uri="{BB962C8B-B14F-4D97-AF65-F5344CB8AC3E}">
        <p14:creationId xmlns:p14="http://schemas.microsoft.com/office/powerpoint/2010/main" val="1012228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79CF6B-9274-6FBE-D845-AC424FD7AD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24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898226-AD2D-0F6A-50AC-482A77D539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1671452"/>
            <a:ext cx="8729374" cy="391193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D5365784-4F3C-383F-A8E0-E6D30C4EC5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305" y="190907"/>
            <a:ext cx="7557495" cy="1180693"/>
          </a:xfrm>
        </p:spPr>
        <p:txBody>
          <a:bodyPr>
            <a:normAutofit fontScale="90000"/>
          </a:bodyPr>
          <a:lstStyle/>
          <a:p>
            <a:pPr lvl="0" indent="457200" fontAlgn="base">
              <a:spcAft>
                <a:spcPct val="0"/>
              </a:spcAft>
            </a:pPr>
            <a:r>
              <a:rPr lang="en-US" altLang="en-US" sz="3300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Table 1: Simple-minded correlation between Δ</a:t>
            </a:r>
            <a:r>
              <a:rPr lang="en-US" altLang="en-US" sz="800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 </a:t>
            </a:r>
            <a:r>
              <a:rPr lang="en-US" altLang="en-US" sz="3300" i="1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s</a:t>
            </a:r>
            <a:r>
              <a:rPr lang="en-US" altLang="en-US" sz="3300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 and (Δ</a:t>
            </a:r>
            <a:r>
              <a:rPr lang="en-US" altLang="en-US" sz="800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 </a:t>
            </a:r>
            <a:r>
              <a:rPr lang="en-US" altLang="en-US" sz="3300" i="1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Res</a:t>
            </a:r>
            <a:r>
              <a:rPr lang="en-US" altLang="en-US" sz="3300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)/</a:t>
            </a:r>
            <a:r>
              <a:rPr lang="en-US" altLang="en-US" sz="3300" i="1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MB</a:t>
            </a:r>
            <a:r>
              <a:rPr lang="en-US" altLang="en-US" sz="3300" dirty="0">
                <a:latin typeface="+mn-lt"/>
                <a:cs typeface="Arial" pitchFamily="34" charset="0"/>
              </a:rPr>
              <a:t>.      </a:t>
            </a:r>
            <a:r>
              <a:rPr lang="en-US" altLang="en-US" sz="2700" dirty="0">
                <a:latin typeface="+mn-lt"/>
                <a:cs typeface="Arial" pitchFamily="34" charset="0"/>
              </a:rPr>
              <a:t>(Monthly, </a:t>
            </a:r>
            <a:r>
              <a:rPr lang="en-US" altLang="en-US" sz="2700" dirty="0">
                <a:solidFill>
                  <a:srgbClr val="222222"/>
                </a:solidFill>
                <a:latin typeface="+mn-lt"/>
                <a:ea typeface="Calibri" pitchFamily="34" charset="0"/>
                <a:cs typeface="Arial" pitchFamily="34" charset="0"/>
              </a:rPr>
              <a:t>2001-2023)</a:t>
            </a:r>
            <a:endParaRPr lang="en-US" sz="2700" dirty="0">
              <a:latin typeface="+mn-lt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C8A241F-7FFF-8721-61EE-88F1D132B5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09600" y="5710535"/>
            <a:ext cx="55418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2400" b="1" dirty="0">
                <a:solidFill>
                  <a:srgbClr val="7030A0"/>
                </a:solidFill>
              </a:rPr>
              <a:t>Corr. &gt; 0.25:  Systematic managed floaters</a:t>
            </a:r>
          </a:p>
        </p:txBody>
      </p:sp>
      <p:sp>
        <p:nvSpPr>
          <p:cNvPr id="8" name="Rounded Rectangle 14">
            <a:extLst>
              <a:ext uri="{FF2B5EF4-FFF2-40B4-BE49-F238E27FC236}">
                <a16:creationId xmlns:a16="http://schemas.microsoft.com/office/drawing/2014/main" id="{29276D62-DDF8-42C3-787B-A309AF9356AD}"/>
              </a:ext>
            </a:extLst>
          </p:cNvPr>
          <p:cNvSpPr/>
          <p:nvPr/>
        </p:nvSpPr>
        <p:spPr>
          <a:xfrm>
            <a:off x="213898" y="1716127"/>
            <a:ext cx="3070607" cy="332927"/>
          </a:xfrm>
          <a:prstGeom prst="round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4">
            <a:extLst>
              <a:ext uri="{FF2B5EF4-FFF2-40B4-BE49-F238E27FC236}">
                <a16:creationId xmlns:a16="http://schemas.microsoft.com/office/drawing/2014/main" id="{9DEC76A5-2289-3305-496C-419563E682EF}"/>
              </a:ext>
            </a:extLst>
          </p:cNvPr>
          <p:cNvSpPr/>
          <p:nvPr/>
        </p:nvSpPr>
        <p:spPr>
          <a:xfrm>
            <a:off x="222806" y="4746926"/>
            <a:ext cx="3070607" cy="335280"/>
          </a:xfrm>
          <a:prstGeom prst="round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4">
            <a:extLst>
              <a:ext uri="{FF2B5EF4-FFF2-40B4-BE49-F238E27FC236}">
                <a16:creationId xmlns:a16="http://schemas.microsoft.com/office/drawing/2014/main" id="{58171062-1C99-50AA-2311-A59C8F221BD2}"/>
              </a:ext>
            </a:extLst>
          </p:cNvPr>
          <p:cNvSpPr/>
          <p:nvPr/>
        </p:nvSpPr>
        <p:spPr>
          <a:xfrm>
            <a:off x="215881" y="5191695"/>
            <a:ext cx="3070607" cy="335280"/>
          </a:xfrm>
          <a:prstGeom prst="round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6BA925-021E-66E2-33AD-D456B9D176F4}"/>
              </a:ext>
            </a:extLst>
          </p:cNvPr>
          <p:cNvSpPr txBox="1"/>
          <p:nvPr/>
        </p:nvSpPr>
        <p:spPr>
          <a:xfrm>
            <a:off x="597728" y="6108360"/>
            <a:ext cx="18406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orr. &lt; 0.15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704955-DCF5-2243-B423-BBEE022C5FD0}"/>
              </a:ext>
            </a:extLst>
          </p:cNvPr>
          <p:cNvSpPr txBox="1"/>
          <p:nvPr/>
        </p:nvSpPr>
        <p:spPr>
          <a:xfrm>
            <a:off x="2308087" y="6103896"/>
            <a:ext cx="1985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8000"/>
                </a:solidFill>
              </a:rPr>
              <a:t>free floaters,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464651-2CD3-792C-400E-2561B4BD9640}"/>
              </a:ext>
            </a:extLst>
          </p:cNvPr>
          <p:cNvSpPr txBox="1"/>
          <p:nvPr/>
        </p:nvSpPr>
        <p:spPr>
          <a:xfrm>
            <a:off x="5245925" y="6087656"/>
            <a:ext cx="24251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2">
                    <a:lumMod val="25000"/>
                  </a:schemeClr>
                </a:solidFill>
              </a:rPr>
              <a:t>&amp; miscellaneou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95898A-85CC-2A75-7DF5-4F2832AA3ECC}"/>
              </a:ext>
            </a:extLst>
          </p:cNvPr>
          <p:cNvSpPr txBox="1"/>
          <p:nvPr/>
        </p:nvSpPr>
        <p:spPr>
          <a:xfrm>
            <a:off x="4163649" y="6103895"/>
            <a:ext cx="10164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fixers,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0B420BA2-294D-0C47-CBDA-4AAD4023C2CE}"/>
              </a:ext>
            </a:extLst>
          </p:cNvPr>
          <p:cNvSpPr/>
          <p:nvPr/>
        </p:nvSpPr>
        <p:spPr>
          <a:xfrm>
            <a:off x="3425906" y="2602675"/>
            <a:ext cx="2725511" cy="357249"/>
          </a:xfrm>
          <a:prstGeom prst="round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4">
            <a:extLst>
              <a:ext uri="{FF2B5EF4-FFF2-40B4-BE49-F238E27FC236}">
                <a16:creationId xmlns:a16="http://schemas.microsoft.com/office/drawing/2014/main" id="{99E88812-F209-10F5-D910-22DAA33049B1}"/>
              </a:ext>
            </a:extLst>
          </p:cNvPr>
          <p:cNvSpPr/>
          <p:nvPr/>
        </p:nvSpPr>
        <p:spPr>
          <a:xfrm>
            <a:off x="3507057" y="3440876"/>
            <a:ext cx="2615668" cy="357249"/>
          </a:xfrm>
          <a:prstGeom prst="round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4">
            <a:extLst>
              <a:ext uri="{FF2B5EF4-FFF2-40B4-BE49-F238E27FC236}">
                <a16:creationId xmlns:a16="http://schemas.microsoft.com/office/drawing/2014/main" id="{74736F3C-EF32-5BBF-8118-344A657C5EED}"/>
              </a:ext>
            </a:extLst>
          </p:cNvPr>
          <p:cNvSpPr/>
          <p:nvPr/>
        </p:nvSpPr>
        <p:spPr>
          <a:xfrm>
            <a:off x="3505082" y="3869376"/>
            <a:ext cx="2615668" cy="357249"/>
          </a:xfrm>
          <a:prstGeom prst="round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4">
            <a:extLst>
              <a:ext uri="{FF2B5EF4-FFF2-40B4-BE49-F238E27FC236}">
                <a16:creationId xmlns:a16="http://schemas.microsoft.com/office/drawing/2014/main" id="{AEEC2B82-85AB-0897-55B1-F81877D93DF3}"/>
              </a:ext>
            </a:extLst>
          </p:cNvPr>
          <p:cNvSpPr/>
          <p:nvPr/>
        </p:nvSpPr>
        <p:spPr>
          <a:xfrm>
            <a:off x="3452750" y="5169726"/>
            <a:ext cx="2615668" cy="357249"/>
          </a:xfrm>
          <a:prstGeom prst="round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73C5E1AA-8636-4C00-CB39-66DABF915950}"/>
              </a:ext>
            </a:extLst>
          </p:cNvPr>
          <p:cNvSpPr/>
          <p:nvPr/>
        </p:nvSpPr>
        <p:spPr>
          <a:xfrm>
            <a:off x="6375932" y="1752600"/>
            <a:ext cx="2615668" cy="357249"/>
          </a:xfrm>
          <a:prstGeom prst="round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4">
            <a:extLst>
              <a:ext uri="{FF2B5EF4-FFF2-40B4-BE49-F238E27FC236}">
                <a16:creationId xmlns:a16="http://schemas.microsoft.com/office/drawing/2014/main" id="{923EF986-652F-EE7E-2190-435A38205435}"/>
              </a:ext>
            </a:extLst>
          </p:cNvPr>
          <p:cNvSpPr/>
          <p:nvPr/>
        </p:nvSpPr>
        <p:spPr>
          <a:xfrm>
            <a:off x="6400800" y="2209800"/>
            <a:ext cx="2615668" cy="357249"/>
          </a:xfrm>
          <a:prstGeom prst="round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14">
            <a:extLst>
              <a:ext uri="{FF2B5EF4-FFF2-40B4-BE49-F238E27FC236}">
                <a16:creationId xmlns:a16="http://schemas.microsoft.com/office/drawing/2014/main" id="{73710036-A99E-1AA0-8295-3EAB13C679D6}"/>
              </a:ext>
            </a:extLst>
          </p:cNvPr>
          <p:cNvSpPr/>
          <p:nvPr/>
        </p:nvSpPr>
        <p:spPr>
          <a:xfrm>
            <a:off x="6375932" y="3043051"/>
            <a:ext cx="2615668" cy="357249"/>
          </a:xfrm>
          <a:prstGeom prst="round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14">
            <a:extLst>
              <a:ext uri="{FF2B5EF4-FFF2-40B4-BE49-F238E27FC236}">
                <a16:creationId xmlns:a16="http://schemas.microsoft.com/office/drawing/2014/main" id="{08F184BD-10D9-8372-00B0-3E67D805733E}"/>
              </a:ext>
            </a:extLst>
          </p:cNvPr>
          <p:cNvSpPr/>
          <p:nvPr/>
        </p:nvSpPr>
        <p:spPr>
          <a:xfrm>
            <a:off x="6352182" y="3881250"/>
            <a:ext cx="2615668" cy="357249"/>
          </a:xfrm>
          <a:prstGeom prst="round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14">
            <a:extLst>
              <a:ext uri="{FF2B5EF4-FFF2-40B4-BE49-F238E27FC236}">
                <a16:creationId xmlns:a16="http://schemas.microsoft.com/office/drawing/2014/main" id="{F4B5D137-FDE9-36F8-B28B-4D7D3C6730E1}"/>
              </a:ext>
            </a:extLst>
          </p:cNvPr>
          <p:cNvSpPr/>
          <p:nvPr/>
        </p:nvSpPr>
        <p:spPr>
          <a:xfrm>
            <a:off x="6375932" y="4748151"/>
            <a:ext cx="2615668" cy="357249"/>
          </a:xfrm>
          <a:prstGeom prst="round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14">
            <a:extLst>
              <a:ext uri="{FF2B5EF4-FFF2-40B4-BE49-F238E27FC236}">
                <a16:creationId xmlns:a16="http://schemas.microsoft.com/office/drawing/2014/main" id="{4F16EA94-9277-9125-403B-6666739A000D}"/>
              </a:ext>
            </a:extLst>
          </p:cNvPr>
          <p:cNvSpPr/>
          <p:nvPr/>
        </p:nvSpPr>
        <p:spPr>
          <a:xfrm>
            <a:off x="6375932" y="5188526"/>
            <a:ext cx="2615668" cy="357249"/>
          </a:xfrm>
          <a:prstGeom prst="round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14">
            <a:extLst>
              <a:ext uri="{FF2B5EF4-FFF2-40B4-BE49-F238E27FC236}">
                <a16:creationId xmlns:a16="http://schemas.microsoft.com/office/drawing/2014/main" id="{829AAEB1-D561-7E79-0A61-DD25F1F9461E}"/>
              </a:ext>
            </a:extLst>
          </p:cNvPr>
          <p:cNvSpPr/>
          <p:nvPr/>
        </p:nvSpPr>
        <p:spPr>
          <a:xfrm>
            <a:off x="205993" y="2197925"/>
            <a:ext cx="3070607" cy="332927"/>
          </a:xfrm>
          <a:prstGeom prst="round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ounded Rectangle 14">
            <a:extLst>
              <a:ext uri="{FF2B5EF4-FFF2-40B4-BE49-F238E27FC236}">
                <a16:creationId xmlns:a16="http://schemas.microsoft.com/office/drawing/2014/main" id="{4F7F7E0F-0ECC-0341-9469-FD74FC96BAAA}"/>
              </a:ext>
            </a:extLst>
          </p:cNvPr>
          <p:cNvSpPr/>
          <p:nvPr/>
        </p:nvSpPr>
        <p:spPr>
          <a:xfrm>
            <a:off x="228600" y="3465198"/>
            <a:ext cx="3070607" cy="332927"/>
          </a:xfrm>
          <a:prstGeom prst="round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le 14">
            <a:extLst>
              <a:ext uri="{FF2B5EF4-FFF2-40B4-BE49-F238E27FC236}">
                <a16:creationId xmlns:a16="http://schemas.microsoft.com/office/drawing/2014/main" id="{5BF3BCC0-FD28-0DA4-B54E-8112C7785548}"/>
              </a:ext>
            </a:extLst>
          </p:cNvPr>
          <p:cNvSpPr/>
          <p:nvPr/>
        </p:nvSpPr>
        <p:spPr>
          <a:xfrm>
            <a:off x="3481450" y="4331525"/>
            <a:ext cx="2791461" cy="332927"/>
          </a:xfrm>
          <a:prstGeom prst="round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ounded Rectangle 14">
            <a:extLst>
              <a:ext uri="{FF2B5EF4-FFF2-40B4-BE49-F238E27FC236}">
                <a16:creationId xmlns:a16="http://schemas.microsoft.com/office/drawing/2014/main" id="{20BFBCAA-D455-A7A3-EC77-EE3CAC7DA17C}"/>
              </a:ext>
            </a:extLst>
          </p:cNvPr>
          <p:cNvSpPr/>
          <p:nvPr/>
        </p:nvSpPr>
        <p:spPr>
          <a:xfrm>
            <a:off x="228600" y="3903618"/>
            <a:ext cx="3070607" cy="332927"/>
          </a:xfrm>
          <a:prstGeom prst="roundRect">
            <a:avLst/>
          </a:prstGeom>
          <a:noFill/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14">
            <a:extLst>
              <a:ext uri="{FF2B5EF4-FFF2-40B4-BE49-F238E27FC236}">
                <a16:creationId xmlns:a16="http://schemas.microsoft.com/office/drawing/2014/main" id="{A8A9E1A1-60A5-B002-CCB4-EF471F4A0064}"/>
              </a:ext>
            </a:extLst>
          </p:cNvPr>
          <p:cNvSpPr/>
          <p:nvPr/>
        </p:nvSpPr>
        <p:spPr>
          <a:xfrm>
            <a:off x="228600" y="4323982"/>
            <a:ext cx="3070607" cy="332927"/>
          </a:xfrm>
          <a:prstGeom prst="roundRect">
            <a:avLst/>
          </a:prstGeom>
          <a:noFill/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ounded Rectangle 14">
            <a:extLst>
              <a:ext uri="{FF2B5EF4-FFF2-40B4-BE49-F238E27FC236}">
                <a16:creationId xmlns:a16="http://schemas.microsoft.com/office/drawing/2014/main" id="{005DC79F-3119-9D3C-3582-AC88A49EAF76}"/>
              </a:ext>
            </a:extLst>
          </p:cNvPr>
          <p:cNvSpPr/>
          <p:nvPr/>
        </p:nvSpPr>
        <p:spPr>
          <a:xfrm>
            <a:off x="3481450" y="4791891"/>
            <a:ext cx="2669967" cy="332927"/>
          </a:xfrm>
          <a:prstGeom prst="roundRect">
            <a:avLst/>
          </a:prstGeom>
          <a:noFill/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ounded Rectangle 14">
            <a:extLst>
              <a:ext uri="{FF2B5EF4-FFF2-40B4-BE49-F238E27FC236}">
                <a16:creationId xmlns:a16="http://schemas.microsoft.com/office/drawing/2014/main" id="{4367416E-99D1-51AA-0029-253D861AC758}"/>
              </a:ext>
            </a:extLst>
          </p:cNvPr>
          <p:cNvSpPr/>
          <p:nvPr/>
        </p:nvSpPr>
        <p:spPr>
          <a:xfrm>
            <a:off x="3496491" y="1730835"/>
            <a:ext cx="2669967" cy="332927"/>
          </a:xfrm>
          <a:prstGeom prst="roundRect">
            <a:avLst/>
          </a:prstGeom>
          <a:noFill/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ounded Rectangle 14">
            <a:extLst>
              <a:ext uri="{FF2B5EF4-FFF2-40B4-BE49-F238E27FC236}">
                <a16:creationId xmlns:a16="http://schemas.microsoft.com/office/drawing/2014/main" id="{DC619B8D-623A-BB0D-0190-9428D2979EB8}"/>
              </a:ext>
            </a:extLst>
          </p:cNvPr>
          <p:cNvSpPr/>
          <p:nvPr/>
        </p:nvSpPr>
        <p:spPr>
          <a:xfrm>
            <a:off x="6442995" y="2649582"/>
            <a:ext cx="2538637" cy="304800"/>
          </a:xfrm>
          <a:prstGeom prst="roundRect">
            <a:avLst/>
          </a:prstGeom>
          <a:noFill/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ounded Rectangle 14">
            <a:extLst>
              <a:ext uri="{FF2B5EF4-FFF2-40B4-BE49-F238E27FC236}">
                <a16:creationId xmlns:a16="http://schemas.microsoft.com/office/drawing/2014/main" id="{2B25E792-6AB3-DF09-0418-C2D5B77B55A3}"/>
              </a:ext>
            </a:extLst>
          </p:cNvPr>
          <p:cNvSpPr/>
          <p:nvPr/>
        </p:nvSpPr>
        <p:spPr>
          <a:xfrm>
            <a:off x="6452963" y="3496491"/>
            <a:ext cx="2538637" cy="304800"/>
          </a:xfrm>
          <a:prstGeom prst="roundRect">
            <a:avLst/>
          </a:prstGeom>
          <a:noFill/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402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8" grpId="0" animBg="1"/>
      <p:bldP spid="9" grpId="0" animBg="1"/>
      <p:bldP spid="10" grpId="0" animBg="1"/>
      <p:bldP spid="11" grpId="0"/>
      <p:bldP spid="12" grpId="0"/>
      <p:bldP spid="13" grpId="0"/>
      <p:bldP spid="14" grpId="0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" grpId="0" animBg="1"/>
      <p:bldP spid="3" grpId="0" animBg="1"/>
      <p:bldP spid="28" grpId="0" animBg="1"/>
      <p:bldP spid="29" grpId="0" animBg="1"/>
      <p:bldP spid="30" grpId="0" animBg="1"/>
      <p:bldP spid="31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>
            <a:noAutofit/>
          </a:bodyPr>
          <a:lstStyle/>
          <a:p>
            <a:r>
              <a:rPr lang="en-US" sz="4000" dirty="0"/>
              <a:t>V) The final exercise: </a:t>
            </a:r>
            <a:br>
              <a:rPr lang="en-US" sz="4000" dirty="0"/>
            </a:br>
            <a:r>
              <a:rPr lang="en-US" sz="4000" dirty="0"/>
              <a:t>Does the regime choice matter?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52400" y="1524000"/>
            <a:ext cx="8763000" cy="5486400"/>
          </a:xfrm>
        </p:spPr>
        <p:txBody>
          <a:bodyPr>
            <a:normAutofit/>
          </a:bodyPr>
          <a:lstStyle/>
          <a:p>
            <a:r>
              <a:rPr lang="en-US" sz="2800" dirty="0"/>
              <a:t>Does it make a difference for the real exchange rate?</a:t>
            </a:r>
            <a:br>
              <a:rPr lang="en-US" sz="800" dirty="0"/>
            </a:br>
            <a:endParaRPr lang="en-US" sz="800" dirty="0"/>
          </a:p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sz="2800" dirty="0"/>
              <a:t>Null hypothesis:  </a:t>
            </a:r>
            <a:br>
              <a:rPr lang="en-US" sz="2800" dirty="0"/>
            </a:br>
            <a:r>
              <a:rPr lang="en-US" sz="2800" dirty="0"/>
              <a:t>Shocks produce the same real exchange rate regardless: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/>
              <a:t>They show up in nominal exchange rate under floating,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/>
              <a:t>in price level if exchange rate is fixed.</a:t>
            </a:r>
            <a:br>
              <a:rPr lang="en-US" sz="800" dirty="0"/>
            </a:br>
            <a:endParaRPr lang="en-US" sz="800" dirty="0"/>
          </a:p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sz="2800" dirty="0"/>
              <a:t>Alternative hypothesis: A positive external shock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/>
              <a:t>will lead to real appreciation, under floating;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/>
              <a:t>the same under systematic managed floating, but less;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/>
              <a:t>no real appreciation in SR, if nominal exchange rate is fixed.</a:t>
            </a:r>
            <a:br>
              <a:rPr lang="en-US" sz="800" dirty="0"/>
            </a:br>
            <a:endParaRPr lang="en-US" sz="800" dirty="0"/>
          </a:p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sz="2800" dirty="0"/>
              <a:t>Econometric tests use two external shock measures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/>
              <a:t>For emerging markets: the VIX;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/>
              <a:t>For commodity exporters: a country-specific index of $ global prices for the oil, minerals, &amp; agricultural products it exports.</a:t>
            </a: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961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Summary of conclu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447800"/>
            <a:ext cx="8839200" cy="518160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I offer the idea of a “systematic managed float,”</a:t>
            </a:r>
          </a:p>
          <a:p>
            <a:pPr lvl="1"/>
            <a:r>
              <a:rPr lang="en-US" dirty="0"/>
              <a:t>defined as </a:t>
            </a:r>
            <a:r>
              <a:rPr lang="en-US" dirty="0" err="1"/>
              <a:t>fx</a:t>
            </a:r>
            <a:r>
              <a:rPr lang="en-US" dirty="0"/>
              <a:t> intervention that is systematic as </a:t>
            </a:r>
            <a:br>
              <a:rPr lang="en-US" dirty="0"/>
            </a:br>
            <a:r>
              <a:rPr lang="en-US" dirty="0"/>
              <a:t>a proportion of total Exchange Market Pressure,</a:t>
            </a:r>
            <a:endParaRPr lang="en-US" baseline="-25000" dirty="0"/>
          </a:p>
          <a:p>
            <a:pPr lvl="1"/>
            <a:r>
              <a:rPr lang="en-US" dirty="0"/>
              <a:t>identified as countries with </a:t>
            </a:r>
            <a:br>
              <a:rPr lang="en-US" dirty="0"/>
            </a:br>
            <a:r>
              <a:rPr lang="en-US" dirty="0"/>
              <a:t>Correlation between </a:t>
            </a:r>
            <a:r>
              <a:rPr lang="en-US" altLang="en-US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Δ </a:t>
            </a:r>
            <a:r>
              <a:rPr lang="en-US" altLang="en-US" i="1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s</a:t>
            </a:r>
            <a:r>
              <a:rPr lang="en-US" altLang="en-US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 and (Δ</a:t>
            </a:r>
            <a:r>
              <a:rPr lang="en-US" altLang="en-US" sz="1300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 </a:t>
            </a:r>
            <a:r>
              <a:rPr lang="en-US" altLang="en-US" i="1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Res</a:t>
            </a:r>
            <a:r>
              <a:rPr lang="en-US" altLang="en-US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)/</a:t>
            </a:r>
            <a:r>
              <a:rPr lang="en-US" altLang="en-US" i="1" dirty="0">
                <a:latin typeface="Calibri" pitchFamily="34" charset="0"/>
                <a:ea typeface="Malgun Gothic" pitchFamily="34" charset="-127"/>
                <a:cs typeface="Times New Roman" pitchFamily="18" charset="0"/>
              </a:rPr>
              <a:t>MB</a:t>
            </a:r>
            <a:r>
              <a:rPr lang="en-US" dirty="0"/>
              <a:t>   &gt; 0.25;</a:t>
            </a:r>
            <a:br>
              <a:rPr lang="en-US" dirty="0"/>
            </a:br>
            <a:endParaRPr lang="en-US" sz="200" dirty="0"/>
          </a:p>
          <a:p>
            <a:pPr marL="914400" lvl="2" indent="0">
              <a:buNone/>
            </a:pPr>
            <a:endParaRPr lang="en-US" sz="200" dirty="0"/>
          </a:p>
          <a:p>
            <a:pPr fontAlgn="t"/>
            <a:r>
              <a:rPr lang="en-US" dirty="0"/>
              <a:t>7 examples of systematic managed floaters:</a:t>
            </a:r>
            <a:br>
              <a:rPr lang="en-US" sz="3100" dirty="0"/>
            </a:br>
            <a:r>
              <a:rPr lang="en-US" sz="2400" dirty="0"/>
              <a:t>S. Korea, Malaysia, Peru, Philippines, Russia, S. Africa &amp; Thailand.</a:t>
            </a:r>
            <a:br>
              <a:rPr lang="en-US" sz="1600" dirty="0"/>
            </a:br>
            <a:endParaRPr lang="en-US" sz="1600" dirty="0"/>
          </a:p>
          <a:p>
            <a:pPr fontAlgn="t">
              <a:lnSpc>
                <a:spcPct val="90000"/>
              </a:lnSpc>
              <a:spcBef>
                <a:spcPts val="0"/>
              </a:spcBef>
            </a:pPr>
            <a:r>
              <a:rPr lang="en-US" sz="3100" dirty="0"/>
              <a:t>The choice of regime matters: External shocks are reflected in the RER for systematic managed floaters, more often than for firm-fixers,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3100" dirty="0"/>
              <a:t>and less often than for free-floaters.</a:t>
            </a:r>
          </a:p>
          <a:p>
            <a:pPr fontAlgn="t"/>
            <a:endParaRPr lang="en-US" sz="31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694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806575"/>
            <a:ext cx="7772400" cy="1470025"/>
          </a:xfrm>
        </p:spPr>
        <p:txBody>
          <a:bodyPr>
            <a:normAutofit fontScale="90000"/>
          </a:bodyPr>
          <a:lstStyle/>
          <a:p>
            <a:r>
              <a:rPr lang="en-US" sz="4900" b="1" dirty="0"/>
              <a:t>Systematic Managed Floating </a:t>
            </a:r>
            <a:br>
              <a:rPr lang="en-US" sz="4900" b="1" dirty="0"/>
            </a:br>
            <a:br>
              <a:rPr lang="en-US" sz="4000" b="1" dirty="0"/>
            </a:br>
            <a:r>
              <a:rPr lang="en-US" sz="4000" dirty="0"/>
              <a:t>Jeffrey Frankel</a:t>
            </a:r>
            <a:br>
              <a:rPr lang="en-US" sz="3100" dirty="0"/>
            </a:br>
            <a:endParaRPr lang="en-US" sz="3100" dirty="0"/>
          </a:p>
        </p:txBody>
      </p:sp>
    </p:spTree>
    <p:extLst>
      <p:ext uri="{BB962C8B-B14F-4D97-AF65-F5344CB8AC3E}">
        <p14:creationId xmlns:p14="http://schemas.microsoft.com/office/powerpoint/2010/main" val="6127443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16507786"/>
              </p:ext>
            </p:extLst>
          </p:nvPr>
        </p:nvGraphicFramePr>
        <p:xfrm>
          <a:off x="228600" y="1289398"/>
          <a:ext cx="8534399" cy="51876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0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83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787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787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2836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b="1" dirty="0">
                          <a:effectLst/>
                        </a:rPr>
                        <a:t> INDIA</a:t>
                      </a:r>
                      <a:endParaRPr lang="en-US" sz="2800" b="1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>
                          <a:effectLst/>
                        </a:rPr>
                        <a:t>(1)</a:t>
                      </a:r>
                      <a:endParaRPr lang="en-US" sz="2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(2)</a:t>
                      </a:r>
                      <a:endParaRPr lang="en-US" sz="2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>
                          <a:effectLst/>
                        </a:rPr>
                        <a:t>(3)</a:t>
                      </a:r>
                      <a:endParaRPr lang="en-US" sz="2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>
                          <a:effectLst/>
                        </a:rPr>
                        <a:t>(4)</a:t>
                      </a:r>
                      <a:endParaRPr lang="en-US" sz="2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>
                          <a:effectLst/>
                        </a:rPr>
                        <a:t>(5)</a:t>
                      </a:r>
                      <a:endParaRPr lang="en-US" sz="2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309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VARIABLES</a:t>
                      </a:r>
                      <a:endParaRPr lang="en-US" sz="18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>
                          <a:effectLst/>
                        </a:rPr>
                        <a:t>11/3/2008-9/9/2009</a:t>
                      </a:r>
                      <a:endParaRPr lang="en-US" sz="2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>
                          <a:effectLst/>
                        </a:rPr>
                        <a:t>9/10/2009-11/22/2012</a:t>
                      </a:r>
                      <a:endParaRPr lang="en-US" sz="2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>
                          <a:effectLst/>
                        </a:rPr>
                        <a:t>11/23/2012-10/1/2013</a:t>
                      </a:r>
                      <a:endParaRPr lang="en-US" sz="2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>
                          <a:effectLst/>
                        </a:rPr>
                        <a:t>10/2/2013-4/7/2015</a:t>
                      </a:r>
                      <a:endParaRPr lang="en-US" sz="2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4/8/2015-2/28/2017</a:t>
                      </a:r>
                      <a:endParaRPr lang="en-US" sz="2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+mn-lt"/>
                          <a:ea typeface="+mn-ea"/>
                          <a:cs typeface="+mn-cs"/>
                        </a:rPr>
                        <a:t>USA</a:t>
                      </a:r>
                      <a:r>
                        <a:rPr lang="en-US" sz="2400" baseline="0" dirty="0">
                          <a:effectLst/>
                          <a:latin typeface="+mn-lt"/>
                          <a:ea typeface="+mn-ea"/>
                          <a:cs typeface="+mn-cs"/>
                        </a:rPr>
                        <a:t> $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472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416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440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0.461***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0.480***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6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5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7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2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4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eur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349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360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379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356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0.330***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21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4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6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4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jpn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099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128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086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065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0.080***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2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4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3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9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03)</a:t>
                      </a:r>
                      <a:endParaRPr lang="en-US" sz="1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Δ EMP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901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988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994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964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0.983***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24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5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3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6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t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-0.000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000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000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-0.000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-0.000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Constant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017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-0.001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-0.019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007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000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5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1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1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33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Observations</a:t>
                      </a:r>
                      <a:endParaRPr lang="en-US" sz="1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214</a:t>
                      </a:r>
                      <a:endParaRPr lang="en-US" sz="1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804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214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377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474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R2</a:t>
                      </a:r>
                      <a:endParaRPr lang="en-US" sz="1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973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993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998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982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997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312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gbp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080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096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095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117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0.109</a:t>
                      </a:r>
                      <a:endParaRPr lang="en-US" sz="1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28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62000" y="6477000"/>
            <a:ext cx="76962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(Robust standard errors in parentheses.)    *** p&lt;0.01,  ** p&lt;0.05,  * p&lt;0.1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28600" y="95992"/>
            <a:ext cx="8686800" cy="1199408"/>
          </a:xfrm>
        </p:spPr>
        <p:txBody>
          <a:bodyPr>
            <a:normAutofit fontScale="90000"/>
          </a:bodyPr>
          <a:lstStyle/>
          <a:p>
            <a:r>
              <a:rPr lang="en-US" sz="3300" dirty="0"/>
              <a:t>Appendix 1: Estimates for two Asian currencies, </a:t>
            </a:r>
            <a:br>
              <a:rPr lang="en-US" sz="3300" dirty="0"/>
            </a:br>
            <a:r>
              <a:rPr lang="en-US" sz="2900" dirty="0"/>
              <a:t>using the Frankel-Wei-Xie technique to </a:t>
            </a:r>
            <a:r>
              <a:rPr lang="en-US" sz="2600" dirty="0"/>
              <a:t>explain </a:t>
            </a:r>
            <a:r>
              <a:rPr lang="el-GR" sz="2600" dirty="0"/>
              <a:t>Δ</a:t>
            </a:r>
            <a:r>
              <a:rPr lang="en-US" sz="2600" dirty="0"/>
              <a:t> value of currency </a:t>
            </a:r>
            <a:br>
              <a:rPr lang="en-US" sz="2600" dirty="0"/>
            </a:br>
            <a:r>
              <a:rPr lang="en-US" sz="1800" dirty="0"/>
              <a:t>with  </a:t>
            </a:r>
            <a:r>
              <a:rPr lang="el-GR" sz="1800" dirty="0"/>
              <a:t>γ</a:t>
            </a:r>
            <a:r>
              <a:rPr lang="en-US" sz="1800" dirty="0"/>
              <a:t> constrained to 1.0, in calculation of EMP.  From Frankel (2019).</a:t>
            </a:r>
          </a:p>
        </p:txBody>
      </p:sp>
    </p:spTree>
    <p:extLst>
      <p:ext uri="{BB962C8B-B14F-4D97-AF65-F5344CB8AC3E}">
        <p14:creationId xmlns:p14="http://schemas.microsoft.com/office/powerpoint/2010/main" val="26557039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87205560"/>
              </p:ext>
            </p:extLst>
          </p:nvPr>
        </p:nvGraphicFramePr>
        <p:xfrm>
          <a:off x="304802" y="914400"/>
          <a:ext cx="8534398" cy="49816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29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07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846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846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846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668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r>
                        <a:rPr lang="en-US" sz="2800" b="1" dirty="0">
                          <a:effectLst/>
                        </a:rPr>
                        <a:t>CHINA</a:t>
                      </a:r>
                      <a:endParaRPr lang="en-US" sz="2800" b="1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(1)</a:t>
                      </a:r>
                      <a:endParaRPr lang="en-US" sz="20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(2)</a:t>
                      </a:r>
                      <a:endParaRPr lang="en-US" sz="20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(3)</a:t>
                      </a:r>
                      <a:endParaRPr lang="en-US" sz="20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(4)</a:t>
                      </a:r>
                      <a:endParaRPr lang="en-US" sz="20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(5)</a:t>
                      </a:r>
                      <a:endParaRPr lang="en-US" sz="20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324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br>
                        <a:rPr lang="en-US" sz="1400" dirty="0">
                          <a:effectLst/>
                        </a:rPr>
                      </a:br>
                      <a:r>
                        <a:rPr lang="en-US" sz="1600" dirty="0">
                          <a:effectLst/>
                        </a:rPr>
                        <a:t>VARIABLES</a:t>
                      </a:r>
                      <a:endParaRPr lang="en-US" sz="16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6/8/2011-1/2/2013</a:t>
                      </a:r>
                      <a:endParaRPr lang="en-US" sz="2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1/3/2013-9/3/2013</a:t>
                      </a:r>
                      <a:endParaRPr lang="en-US" sz="2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9/4/2013-2/3/2015</a:t>
                      </a:r>
                      <a:endParaRPr lang="en-US" sz="2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2/4/2015-4/1/2016</a:t>
                      </a:r>
                      <a:endParaRPr lang="en-US" sz="2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4/4/2016-4/28/2017</a:t>
                      </a:r>
                      <a:endParaRPr lang="en-US" sz="2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USA $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448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501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457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509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0.484***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7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4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8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5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effectLst/>
                        </a:rPr>
                        <a:t>Eur</a:t>
                      </a:r>
                      <a:r>
                        <a:rPr lang="en-US" sz="2400" dirty="0">
                          <a:effectLst/>
                        </a:rPr>
                        <a:t> €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345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328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358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316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0.331***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6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7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6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5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effectLst/>
                        </a:rPr>
                        <a:t>Jpn</a:t>
                      </a:r>
                      <a:r>
                        <a:rPr lang="en-US" sz="2400" dirty="0">
                          <a:effectLst/>
                        </a:rPr>
                        <a:t> ¥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0.099***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0.078***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0.066***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0.069***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0.078***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3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3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4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04)</a:t>
                      </a:r>
                      <a:endParaRPr lang="en-US" sz="11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3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Δ EMP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951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895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961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0.926***</a:t>
                      </a:r>
                      <a:endParaRPr lang="en-US" sz="2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0.972***</a:t>
                      </a:r>
                      <a:endParaRPr lang="en-US" sz="2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2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25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4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3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2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t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000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000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000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000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000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Constant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-0.002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-0.013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-0.003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-0.005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-0.002***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1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0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1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1)</a:t>
                      </a:r>
                      <a:endParaRPr lang="en-US" sz="11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Observations</a:t>
                      </a:r>
                      <a:endParaRPr lang="en-US" sz="1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393</a:t>
                      </a:r>
                      <a:endParaRPr lang="en-US" sz="1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168</a:t>
                      </a:r>
                      <a:endParaRPr lang="en-US" sz="1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354</a:t>
                      </a:r>
                      <a:endParaRPr lang="en-US" sz="1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290</a:t>
                      </a:r>
                      <a:endParaRPr lang="en-US" sz="1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69</a:t>
                      </a:r>
                      <a:endParaRPr lang="en-US" sz="14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R</a:t>
                      </a:r>
                      <a:r>
                        <a:rPr lang="en-US" sz="1400" baseline="30000">
                          <a:effectLst/>
                        </a:rPr>
                        <a:t>2</a:t>
                      </a:r>
                      <a:endParaRPr lang="en-US" sz="1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0.997</a:t>
                      </a:r>
                      <a:endParaRPr lang="en-US" sz="1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0.998</a:t>
                      </a:r>
                      <a:endParaRPr lang="en-US" sz="1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0.995</a:t>
                      </a:r>
                      <a:endParaRPr lang="en-US" sz="1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0.996</a:t>
                      </a:r>
                      <a:endParaRPr lang="en-US" sz="1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0.999</a:t>
                      </a:r>
                      <a:endParaRPr lang="en-US" sz="14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173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effectLst/>
                        </a:rPr>
                        <a:t>Gbp</a:t>
                      </a:r>
                      <a:r>
                        <a:rPr lang="en-US" sz="1600" dirty="0">
                          <a:effectLst/>
                        </a:rPr>
                        <a:t> £</a:t>
                      </a:r>
                      <a:endParaRPr lang="en-US" sz="16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108</a:t>
                      </a:r>
                      <a:endParaRPr lang="en-US" sz="16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093</a:t>
                      </a:r>
                      <a:endParaRPr lang="en-US" sz="16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118</a:t>
                      </a:r>
                      <a:endParaRPr lang="en-US" sz="16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106</a:t>
                      </a:r>
                      <a:endParaRPr lang="en-US" sz="16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108</a:t>
                      </a:r>
                      <a:endParaRPr lang="en-US" sz="16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29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62000" y="6096000"/>
            <a:ext cx="7696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(Robust standard errors in parentheses.)    *** p&lt;0.01,  ** p&lt;0.05,  * p&lt;0.1</a:t>
            </a:r>
          </a:p>
          <a:p>
            <a:r>
              <a:rPr lang="en-US" dirty="0"/>
              <a:t>        </a:t>
            </a:r>
            <a:r>
              <a:rPr lang="el-GR" sz="1800" dirty="0"/>
              <a:t>γ</a:t>
            </a:r>
            <a:r>
              <a:rPr lang="en-US" sz="1800" dirty="0"/>
              <a:t> constrained to 1.0, in calculation of EMP. From Frankel (2019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3516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dirty="0"/>
              <a:t>Countries’ choice of exchange rate regim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524000"/>
            <a:ext cx="8991600" cy="4724400"/>
          </a:xfrm>
        </p:spPr>
        <p:txBody>
          <a:bodyPr>
            <a:normAutofit/>
          </a:bodyPr>
          <a:lstStyle/>
          <a:p>
            <a:r>
              <a:rPr lang="en-US" dirty="0"/>
              <a:t>A majority neither free float nor firmly peg.</a:t>
            </a:r>
            <a:br>
              <a:rPr lang="en-US" sz="1500" dirty="0"/>
            </a:br>
            <a:endParaRPr lang="en-US" sz="1500" dirty="0"/>
          </a:p>
          <a:p>
            <a:r>
              <a:rPr lang="en-US" dirty="0"/>
              <a:t>Intermediate exchange rate regimes, then. </a:t>
            </a:r>
          </a:p>
          <a:p>
            <a:pPr lvl="1"/>
            <a:r>
              <a:rPr lang="en-US" dirty="0"/>
              <a:t>But, in practice, they also seldom obey well-defined </a:t>
            </a:r>
            <a:br>
              <a:rPr lang="en-US" dirty="0"/>
            </a:br>
            <a:r>
              <a:rPr lang="en-US" dirty="0"/>
              <a:t>target zones or basket pegs.  </a:t>
            </a:r>
            <a:br>
              <a:rPr lang="en-US" dirty="0"/>
            </a:br>
            <a:endParaRPr lang="en-US" sz="900" dirty="0"/>
          </a:p>
          <a:p>
            <a:pPr lvl="1">
              <a:spcBef>
                <a:spcPts val="0"/>
              </a:spcBef>
            </a:pPr>
            <a:r>
              <a:rPr lang="en-US" dirty="0"/>
              <a:t>Proposed: a regime of “systematic managed floating,” </a:t>
            </a:r>
          </a:p>
          <a:p>
            <a:pPr marL="457200" lvl="1" indent="0">
              <a:spcBef>
                <a:spcPts val="0"/>
              </a:spcBef>
              <a:buNone/>
            </a:pPr>
            <a:r>
              <a:rPr lang="en-US" dirty="0"/>
              <a:t>   where the central bank regularly responds to changes </a:t>
            </a:r>
            <a:br>
              <a:rPr lang="en-US" dirty="0"/>
            </a:br>
            <a:r>
              <a:rPr lang="en-US" dirty="0"/>
              <a:t>   in total exchange market pressure  by </a:t>
            </a:r>
          </a:p>
          <a:p>
            <a:pPr lvl="2"/>
            <a:r>
              <a:rPr lang="en-US" sz="2500" dirty="0"/>
              <a:t>allowing some fraction to be reflected as </a:t>
            </a:r>
            <a:r>
              <a:rPr lang="el-GR" sz="2500" dirty="0"/>
              <a:t>Δ</a:t>
            </a:r>
            <a:r>
              <a:rPr lang="en-US" sz="2500" dirty="0"/>
              <a:t> exchange rate, </a:t>
            </a:r>
          </a:p>
          <a:p>
            <a:pPr lvl="2"/>
            <a:r>
              <a:rPr lang="en-US" sz="2500" dirty="0"/>
              <a:t>the remaining fraction to be absorbed as </a:t>
            </a:r>
            <a:r>
              <a:rPr lang="el-GR" sz="2500" dirty="0"/>
              <a:t>Δ </a:t>
            </a:r>
            <a:r>
              <a:rPr lang="en-US" sz="2500" dirty="0"/>
              <a:t>FX reserves</a:t>
            </a:r>
            <a:r>
              <a:rPr lang="en-US" sz="1500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527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63" y="-76200"/>
            <a:ext cx="9011425" cy="1143000"/>
          </a:xfrm>
        </p:spPr>
        <p:txBody>
          <a:bodyPr>
            <a:normAutofit/>
          </a:bodyPr>
          <a:lstStyle/>
          <a:p>
            <a:r>
              <a:rPr lang="en-US" sz="3200" dirty="0"/>
              <a:t>Appendix 2: Effects of Shocks on Real Exchange Rate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0238430"/>
              </p:ext>
            </p:extLst>
          </p:nvPr>
        </p:nvGraphicFramePr>
        <p:xfrm>
          <a:off x="47016" y="2157271"/>
          <a:ext cx="9067800" cy="39679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162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80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80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938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5172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0567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8806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(1)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(2)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(3)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(4)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(5)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(6)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(7)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(8)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06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VARIABLES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H Kong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India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Korea, R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>
                          <a:effectLst/>
                        </a:rPr>
                        <a:t>Malaysia</a:t>
                      </a:r>
                      <a:endParaRPr lang="en-US" sz="1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>
                          <a:effectLst/>
                        </a:rPr>
                        <a:t>Philippines</a:t>
                      </a:r>
                      <a:endParaRPr lang="en-US" sz="1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>
                          <a:effectLst/>
                        </a:rPr>
                        <a:t>Singapore</a:t>
                      </a:r>
                      <a:endParaRPr lang="en-US" sz="1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Thailand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Turkey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82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806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Log of VIX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002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-0.006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-0.047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-0.009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-0.011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-0.005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-0.011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-0.019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806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 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4)</a:t>
                      </a:r>
                      <a:endParaRPr lang="en-U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3)</a:t>
                      </a:r>
                      <a:endParaRPr lang="en-U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9)</a:t>
                      </a:r>
                      <a:endParaRPr lang="en-U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5)</a:t>
                      </a:r>
                      <a:endParaRPr lang="en-U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3)</a:t>
                      </a:r>
                      <a:endParaRPr lang="en-U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2)</a:t>
                      </a:r>
                      <a:endParaRPr lang="en-U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3)</a:t>
                      </a:r>
                      <a:endParaRPr lang="en-U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06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806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REER Lag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993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987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874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935***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996***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997***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970***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955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806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 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08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12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27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28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07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05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24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16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806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onstant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027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080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703***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326**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053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028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171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254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806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35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56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141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126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33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26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112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77)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22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</a:rPr>
                        <a:t>Observatns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27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27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27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27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227</a:t>
                      </a:r>
                      <a:endParaRPr lang="en-US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227</a:t>
                      </a:r>
                      <a:endParaRPr lang="en-US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227</a:t>
                      </a:r>
                      <a:endParaRPr lang="en-US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27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922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R2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990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0.968</a:t>
                      </a:r>
                      <a:endParaRPr lang="en-US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928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904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986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992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954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956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1150823"/>
              </p:ext>
            </p:extLst>
          </p:nvPr>
        </p:nvGraphicFramePr>
        <p:xfrm>
          <a:off x="2008760" y="6163861"/>
          <a:ext cx="5492887" cy="30105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4928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81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br>
                        <a:rPr lang="en-US" sz="400" dirty="0">
                          <a:effectLst/>
                        </a:rPr>
                      </a:br>
                      <a:r>
                        <a:rPr lang="en-US" sz="1400" dirty="0">
                          <a:effectLst/>
                        </a:rPr>
                        <a:t> Robust standard errors in parentheses; *** p&lt;0.01, ** p&lt;0.05, * p&lt;0.1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228600" y="1700022"/>
            <a:ext cx="8800288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900" dirty="0"/>
              <a:t>A:   Effect of VIX Shocks on Real Exchange Rates among Asia Non-Commodity-Exporter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0" y="864513"/>
            <a:ext cx="9126537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300" dirty="0"/>
              <a:t>Adverse shock =&gt; </a:t>
            </a:r>
            <a:r>
              <a:rPr lang="en-US" sz="2300" b="1" dirty="0">
                <a:solidFill>
                  <a:srgbClr val="7030A0"/>
                </a:solidFill>
              </a:rPr>
              <a:t>real depreciation, for all 7 systematic managed floaters;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43400" y="1245513"/>
            <a:ext cx="439639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dirty="0"/>
              <a:t>but not for the firm fixer, Hong Kong.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2094688" y="2557678"/>
            <a:ext cx="7010400" cy="1199745"/>
          </a:xfrm>
          <a:prstGeom prst="round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1094360" y="2557678"/>
            <a:ext cx="914400" cy="1219201"/>
          </a:xfrm>
          <a:prstGeom prst="round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30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5540D4-89D4-1B2B-78BD-6E23CE899D56}"/>
              </a:ext>
            </a:extLst>
          </p:cNvPr>
          <p:cNvSpPr txBox="1"/>
          <p:nvPr/>
        </p:nvSpPr>
        <p:spPr>
          <a:xfrm>
            <a:off x="3602182" y="6488668"/>
            <a:ext cx="21890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Frankel (2019).</a:t>
            </a:r>
          </a:p>
        </p:txBody>
      </p:sp>
    </p:spTree>
    <p:extLst>
      <p:ext uri="{BB962C8B-B14F-4D97-AF65-F5344CB8AC3E}">
        <p14:creationId xmlns:p14="http://schemas.microsoft.com/office/powerpoint/2010/main" val="3140904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1" grpId="0"/>
      <p:bldP spid="12" grpId="0" animBg="1"/>
      <p:bldP spid="13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74638"/>
            <a:ext cx="8458200" cy="1143000"/>
          </a:xfrm>
        </p:spPr>
        <p:txBody>
          <a:bodyPr>
            <a:normAutofit/>
          </a:bodyPr>
          <a:lstStyle/>
          <a:p>
            <a:r>
              <a:rPr lang="en-US" sz="2600" dirty="0"/>
              <a:t>Many firm-fixers show no effect of commodity price shocks on the RER, including oil-exporters: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9826925"/>
              </p:ext>
            </p:extLst>
          </p:nvPr>
        </p:nvGraphicFramePr>
        <p:xfrm>
          <a:off x="228601" y="2074860"/>
          <a:ext cx="8610599" cy="371393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239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47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92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7096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5568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8505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(13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14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17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18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20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9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948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VARIABLES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Bahrain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Brunei</a:t>
                      </a:r>
                      <a:endParaRPr lang="en-US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Kuwait</a:t>
                      </a:r>
                      <a:endParaRPr lang="en-US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Qatar</a:t>
                      </a:r>
                      <a:endParaRPr lang="en-US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Saudi A.</a:t>
                      </a:r>
                      <a:endParaRPr lang="en-US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UAE</a:t>
                      </a:r>
                      <a:endParaRPr lang="en-US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505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Commodity Price Indices</a:t>
                      </a:r>
                      <a:endParaRPr lang="en-US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-0.00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0.004***</a:t>
                      </a:r>
                      <a:endParaRPr lang="en-US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0.003*</a:t>
                      </a:r>
                      <a:endParaRPr lang="en-US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0.002</a:t>
                      </a:r>
                      <a:endParaRPr lang="en-US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0.004**</a:t>
                      </a:r>
                      <a:endParaRPr lang="en-US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-0.030</a:t>
                      </a:r>
                      <a:endParaRPr lang="en-US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196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(0.004)</a:t>
                      </a:r>
                      <a:endParaRPr lang="en-US" sz="11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01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2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3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02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(0.020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REER Lag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0.979***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0.980***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0.996***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.001***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.015***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0.942***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505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 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(0.021)</a:t>
                      </a:r>
                      <a:endParaRPr lang="en-US" sz="11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08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0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3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10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(0.049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505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Constant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0.1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0.094**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0.022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-0.003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-0.069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0.273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007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 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(0.095)</a:t>
                      </a:r>
                      <a:endParaRPr lang="en-US" sz="11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0.039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49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59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(0.048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(0.233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505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effectLst/>
                        </a:rPr>
                        <a:t>Observatns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 227</a:t>
                      </a:r>
                      <a:endParaRPr lang="en-US" sz="11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227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227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56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227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7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505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R2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0.982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976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978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980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0.936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693988" y="2074863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689413"/>
              </p:ext>
            </p:extLst>
          </p:nvPr>
        </p:nvGraphicFramePr>
        <p:xfrm>
          <a:off x="2100263" y="6096000"/>
          <a:ext cx="4605337" cy="26809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053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620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br>
                        <a:rPr lang="en-US" sz="400" dirty="0">
                          <a:effectLst/>
                        </a:rPr>
                      </a:br>
                      <a:r>
                        <a:rPr lang="en-US" sz="1200" dirty="0">
                          <a:effectLst/>
                        </a:rPr>
                        <a:t> Robust standard errors in parentheses; *** p&lt;0.01, ** p&lt;0.05, * p&lt;0.1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685800" y="1581090"/>
            <a:ext cx="78486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B:  Effect of Commodity Shocks on RERs among Firm-fixing Oil-Exporters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752600" y="2362200"/>
            <a:ext cx="990600" cy="1467256"/>
          </a:xfrm>
          <a:prstGeom prst="round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5334000" y="2362200"/>
            <a:ext cx="1066800" cy="1467256"/>
          </a:xfrm>
          <a:prstGeom prst="round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7772400" y="2362200"/>
            <a:ext cx="1066800" cy="1467256"/>
          </a:xfrm>
          <a:prstGeom prst="round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433450" y="6453250"/>
            <a:ext cx="85344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7030A0"/>
                </a:solidFill>
              </a:rPr>
              <a:t>† Brunei is an exception: a highly significant effect, perhaps because its hard peg is to Singapore. </a:t>
            </a:r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3657600" y="2305456"/>
            <a:ext cx="31290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7030A0"/>
                </a:solidFill>
              </a:rPr>
              <a:t>†</a:t>
            </a:r>
            <a:endParaRPr lang="en-US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6873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 animBg="1"/>
      <p:bldP spid="10" grpId="0" animBg="1"/>
      <p:bldP spid="11" grpId="0" animBg="1"/>
      <p:bldP spid="12" grpId="0"/>
      <p:bldP spid="13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28" y="274638"/>
            <a:ext cx="8991600" cy="792162"/>
          </a:xfrm>
        </p:spPr>
        <p:txBody>
          <a:bodyPr>
            <a:normAutofit fontScale="90000"/>
          </a:bodyPr>
          <a:lstStyle/>
          <a:p>
            <a:r>
              <a:rPr lang="en-US" sz="2800" b="1" dirty="0">
                <a:solidFill>
                  <a:srgbClr val="008000"/>
                </a:solidFill>
              </a:rPr>
              <a:t>All four floaters show significant RER effects of commodity prices.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80841446"/>
              </p:ext>
            </p:extLst>
          </p:nvPr>
        </p:nvGraphicFramePr>
        <p:xfrm>
          <a:off x="381000" y="1676398"/>
          <a:ext cx="8458200" cy="403860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243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94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94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810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9643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0136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1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2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10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11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16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21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136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VARIABLES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Australia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New </a:t>
                      </a:r>
                      <a:r>
                        <a:rPr lang="en-US" sz="1800" dirty="0" err="1">
                          <a:effectLst/>
                        </a:rPr>
                        <a:t>Zeald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Indonesia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Papua NG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Kazakhstan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Mongolia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1363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Commodity Price Indices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0.038***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0.086**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0.091***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0.025***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0.014***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0.044***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633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15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42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33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06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05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15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136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REER Lag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944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955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890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963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958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946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136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19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22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41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13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18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25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136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Constant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269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244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535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187*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198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264**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136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92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114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197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62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084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(0.118)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136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Observations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26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26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27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27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27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27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36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R2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983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975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908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.973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0. 965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 0.968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595438" y="2706688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4800" y="1230868"/>
            <a:ext cx="88392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C:  Effect of Commodity Shocks on RERs among Asia/Pacific Commodity-Exporter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3408070"/>
              </p:ext>
            </p:extLst>
          </p:nvPr>
        </p:nvGraphicFramePr>
        <p:xfrm>
          <a:off x="2100263" y="5867400"/>
          <a:ext cx="4605337" cy="26809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053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620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br>
                        <a:rPr lang="en-US" sz="400" dirty="0">
                          <a:effectLst/>
                        </a:rPr>
                      </a:br>
                      <a:r>
                        <a:rPr lang="en-US" sz="1200" dirty="0">
                          <a:effectLst/>
                        </a:rPr>
                        <a:t> Robust standard errors in parentheses; *** p&lt;0.01, ** p&lt;0.05, * p&lt;0.1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Rounded Rectangle 7"/>
          <p:cNvSpPr/>
          <p:nvPr/>
        </p:nvSpPr>
        <p:spPr>
          <a:xfrm>
            <a:off x="1828800" y="2457857"/>
            <a:ext cx="1066800" cy="381000"/>
          </a:xfrm>
          <a:prstGeom prst="round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2962072" y="2448128"/>
            <a:ext cx="1066800" cy="381000"/>
          </a:xfrm>
          <a:prstGeom prst="round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139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 animBg="1"/>
      <p:bldP spid="9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563562"/>
          </a:xfrm>
        </p:spPr>
        <p:txBody>
          <a:bodyPr>
            <a:normAutofit/>
          </a:bodyPr>
          <a:lstStyle/>
          <a:p>
            <a:r>
              <a:rPr lang="en-US" sz="2800" dirty="0"/>
              <a:t>Among other commodity exporters,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7862755"/>
              </p:ext>
            </p:extLst>
          </p:nvPr>
        </p:nvGraphicFramePr>
        <p:xfrm>
          <a:off x="76200" y="1981494"/>
          <a:ext cx="8915398" cy="37298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43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13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13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25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785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7786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0333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9059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6164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 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(4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(3)</a:t>
                      </a:r>
                      <a:endParaRPr lang="en-US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(6)</a:t>
                      </a:r>
                      <a:endParaRPr lang="en-US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(7)</a:t>
                      </a:r>
                      <a:endParaRPr lang="en-US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(8)</a:t>
                      </a:r>
                      <a:endParaRPr lang="en-US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(5)</a:t>
                      </a:r>
                      <a:endParaRPr lang="en-US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(15)</a:t>
                      </a:r>
                      <a:endParaRPr lang="en-US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(19)</a:t>
                      </a:r>
                      <a:endParaRPr lang="en-US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129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VARIABLES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Brazil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S.</a:t>
                      </a:r>
                      <a:r>
                        <a:rPr lang="en-US" sz="1800" b="0" baseline="0" dirty="0">
                          <a:effectLst/>
                        </a:rPr>
                        <a:t> </a:t>
                      </a:r>
                      <a:r>
                        <a:rPr lang="en-US" sz="1800" b="0" dirty="0">
                          <a:effectLst/>
                        </a:rPr>
                        <a:t>Africa</a:t>
                      </a:r>
                      <a:endParaRPr lang="en-US" sz="18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Colombia</a:t>
                      </a:r>
                      <a:endParaRPr lang="en-US" sz="18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Ecuador</a:t>
                      </a:r>
                      <a:endParaRPr lang="en-US" sz="18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Peru</a:t>
                      </a:r>
                      <a:endParaRPr lang="en-US" sz="18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hil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Canada</a:t>
                      </a:r>
                      <a:endParaRPr lang="en-US" sz="18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Russia</a:t>
                      </a:r>
                      <a:endParaRPr lang="en-US" sz="18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3283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ommodity Price</a:t>
                      </a:r>
                      <a:r>
                        <a:rPr lang="en-US" sz="80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Indices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0.144***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0.000</a:t>
                      </a:r>
                      <a:endParaRPr lang="en-US" sz="18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>
                          <a:effectLst/>
                        </a:rPr>
                        <a:t>0.011</a:t>
                      </a:r>
                      <a:endParaRPr lang="en-US" sz="18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0.010</a:t>
                      </a:r>
                      <a:endParaRPr lang="en-US" sz="18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>
                          <a:effectLst/>
                        </a:rPr>
                        <a:t>0.008**</a:t>
                      </a:r>
                      <a:endParaRPr lang="en-US" sz="18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0.012*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0.013***</a:t>
                      </a:r>
                      <a:endParaRPr lang="en-US" sz="18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0.033**</a:t>
                      </a:r>
                      <a:endParaRPr lang="en-US" sz="18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84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(0.052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(0.010)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>
                          <a:effectLst/>
                        </a:rPr>
                        <a:t>(0.008)</a:t>
                      </a:r>
                      <a:endParaRPr lang="en-US" sz="16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(0.010)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>
                          <a:effectLst/>
                        </a:rPr>
                        <a:t>(0.004)</a:t>
                      </a:r>
                      <a:endParaRPr lang="en-US" sz="16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(0.006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>
                          <a:effectLst/>
                        </a:rPr>
                        <a:t>(0.004)</a:t>
                      </a:r>
                      <a:endParaRPr lang="en-US" sz="16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(0.016)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328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REER Lag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0.952***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970</a:t>
                      </a:r>
                      <a:r>
                        <a:rPr lang="en-US" sz="1500" b="0" dirty="0">
                          <a:effectLst/>
                        </a:rPr>
                        <a:t>***</a:t>
                      </a:r>
                      <a:endParaRPr lang="en-US" sz="15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981***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965***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970***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0.960***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939***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926***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328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 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(0.017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</a:rPr>
                        <a:t>(0.021)</a:t>
                      </a:r>
                      <a:endParaRPr lang="en-US" sz="14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</a:rPr>
                        <a:t>(0.016)</a:t>
                      </a:r>
                      <a:endParaRPr lang="en-US" sz="14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</a:rPr>
                        <a:t>(0.036)</a:t>
                      </a:r>
                      <a:endParaRPr lang="en-US" sz="14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</a:rPr>
                        <a:t>(0.013)</a:t>
                      </a:r>
                      <a:endParaRPr lang="en-US" sz="14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(0.014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</a:rPr>
                        <a:t>(0.019)</a:t>
                      </a:r>
                      <a:endParaRPr lang="en-US" sz="14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</a:rPr>
                        <a:t>(0.028)</a:t>
                      </a:r>
                      <a:endParaRPr lang="en-US" sz="14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328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onstant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0.229***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138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091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170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138**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0.170***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279***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349***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328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 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Calibri"/>
                          <a:ea typeface="Calibri"/>
                          <a:cs typeface="Times New Roman"/>
                        </a:rPr>
                        <a:t>(0.079)</a:t>
                      </a:r>
                      <a:endParaRPr lang="en-US" sz="14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</a:rPr>
                        <a:t>(0.095)</a:t>
                      </a:r>
                      <a:endParaRPr lang="en-US" sz="14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</a:rPr>
                        <a:t>(0.077)</a:t>
                      </a:r>
                      <a:endParaRPr lang="en-US" sz="14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</a:rPr>
                        <a:t>(0.170)</a:t>
                      </a:r>
                      <a:endParaRPr lang="en-US" sz="14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</a:rPr>
                        <a:t>(0.059)</a:t>
                      </a:r>
                      <a:endParaRPr lang="en-US" sz="14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(0.064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</a:rPr>
                        <a:t>(0.086)</a:t>
                      </a:r>
                      <a:endParaRPr lang="en-US" sz="14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</a:rPr>
                        <a:t>(0.130)</a:t>
                      </a:r>
                      <a:endParaRPr lang="en-US" sz="14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492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 err="1">
                          <a:effectLst/>
                        </a:rPr>
                        <a:t>Observatns</a:t>
                      </a:r>
                      <a:endParaRPr lang="en-US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22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227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>
                          <a:effectLst/>
                        </a:rPr>
                        <a:t>227</a:t>
                      </a:r>
                      <a:endParaRPr lang="en-US" sz="16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>
                          <a:effectLst/>
                        </a:rPr>
                        <a:t>227</a:t>
                      </a:r>
                      <a:endParaRPr lang="en-US" sz="16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>
                          <a:effectLst/>
                        </a:rPr>
                        <a:t>227</a:t>
                      </a:r>
                      <a:endParaRPr lang="en-US" sz="16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22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>
                          <a:effectLst/>
                        </a:rPr>
                        <a:t>227</a:t>
                      </a:r>
                      <a:endParaRPr lang="en-US" sz="16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227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8492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R2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0.973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928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963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>
                          <a:effectLst/>
                        </a:rPr>
                        <a:t>0.935</a:t>
                      </a:r>
                      <a:endParaRPr lang="en-US" sz="16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965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0.94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 0.984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</a:rPr>
                        <a:t>0.974</a:t>
                      </a:r>
                      <a:endParaRPr lang="en-US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709" marR="52709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304800" y="1524000"/>
            <a:ext cx="86106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B:   Effect of Commodity Shocks on RERs among  Non-Asia Commodity-Exporters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1429398"/>
              </p:ext>
            </p:extLst>
          </p:nvPr>
        </p:nvGraphicFramePr>
        <p:xfrm>
          <a:off x="2100263" y="5867400"/>
          <a:ext cx="4605337" cy="26809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053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620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br>
                        <a:rPr lang="en-US" sz="400" dirty="0">
                          <a:effectLst/>
                        </a:rPr>
                      </a:br>
                      <a:r>
                        <a:rPr lang="en-US" sz="1200" dirty="0">
                          <a:effectLst/>
                        </a:rPr>
                        <a:t> Robust standard errors in parentheses; *** p&lt;0.01, ** p&lt;0.05, * p&lt;0.1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Rounded Rectangle 8"/>
          <p:cNvSpPr/>
          <p:nvPr/>
        </p:nvSpPr>
        <p:spPr>
          <a:xfrm>
            <a:off x="6019800" y="2286000"/>
            <a:ext cx="914400" cy="1143000"/>
          </a:xfrm>
          <a:prstGeom prst="round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6998912" y="2286000"/>
            <a:ext cx="969818" cy="1143000"/>
          </a:xfrm>
          <a:prstGeom prst="round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4229764" y="2286000"/>
            <a:ext cx="865908" cy="1143000"/>
          </a:xfrm>
          <a:prstGeom prst="round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/>
        </p:nvSpPr>
        <p:spPr>
          <a:xfrm>
            <a:off x="8020456" y="2276271"/>
            <a:ext cx="968344" cy="1152729"/>
          </a:xfrm>
          <a:prstGeom prst="round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5134585" y="2276271"/>
            <a:ext cx="828471" cy="1143001"/>
          </a:xfrm>
          <a:prstGeom prst="round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/>
          <p:cNvSpPr/>
          <p:nvPr/>
        </p:nvSpPr>
        <p:spPr>
          <a:xfrm>
            <a:off x="1248384" y="2276272"/>
            <a:ext cx="969818" cy="1219200"/>
          </a:xfrm>
          <a:prstGeom prst="round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0" y="609600"/>
            <a:ext cx="91440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300" dirty="0"/>
              <a:t>Commodity shocks have no significant RER effect in the firm-fixer (Ecuador) </a:t>
            </a: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533400" y="990600"/>
            <a:ext cx="83058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rgbClr val="7030A0"/>
                </a:solidFill>
              </a:rPr>
              <a:t>but do in most of the managed floaters.</a:t>
            </a:r>
            <a:r>
              <a:rPr lang="en-US" sz="2000" dirty="0">
                <a:solidFill>
                  <a:srgbClr val="7030A0"/>
                </a:solidFill>
                <a:latin typeface="Calibri"/>
              </a:rPr>
              <a:t>†</a:t>
            </a:r>
            <a:endParaRPr lang="en-US" sz="2000" dirty="0">
              <a:solidFill>
                <a:srgbClr val="7030A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37055" y="6400800"/>
            <a:ext cx="78925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7030A0"/>
                </a:solidFill>
              </a:rPr>
              <a:t>† South Africa is an exception.   But it shows a positive effect in IV regressions on the BoP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481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/>
      <p:bldP spid="16" grpId="0"/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BA6C6-149B-FFAE-91D3-B1B6ED52DA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1143000"/>
          </a:xfrm>
        </p:spPr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B1F54-4A0A-80ED-393B-35D943EB0A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905000"/>
            <a:ext cx="8610600" cy="4525963"/>
          </a:xfrm>
        </p:spPr>
        <p:txBody>
          <a:bodyPr/>
          <a:lstStyle/>
          <a:p>
            <a:r>
              <a:rPr lang="en-US" dirty="0"/>
              <a:t>I)   Five recent historical episodes</a:t>
            </a:r>
            <a:endParaRPr lang="en-US" sz="800" dirty="0"/>
          </a:p>
          <a:p>
            <a:pPr marL="0" indent="0">
              <a:buNone/>
            </a:pPr>
            <a:endParaRPr lang="en-US" sz="800" dirty="0"/>
          </a:p>
          <a:p>
            <a:r>
              <a:rPr lang="en-US" dirty="0"/>
              <a:t>II)  Four challenges to the relevance of </a:t>
            </a:r>
            <a:br>
              <a:rPr lang="en-US" dirty="0"/>
            </a:br>
            <a:r>
              <a:rPr lang="en-US" dirty="0"/>
              <a:t>      intermediate exchange rate regimes</a:t>
            </a:r>
            <a:br>
              <a:rPr lang="en-US" sz="800" dirty="0"/>
            </a:br>
            <a:endParaRPr lang="en-US" sz="800" dirty="0"/>
          </a:p>
          <a:p>
            <a:r>
              <a:rPr lang="en-US" dirty="0"/>
              <a:t>III) Classification schemes</a:t>
            </a:r>
            <a:br>
              <a:rPr lang="en-US" sz="800" dirty="0"/>
            </a:br>
            <a:endParaRPr lang="en-US" sz="800" dirty="0"/>
          </a:p>
          <a:p>
            <a:r>
              <a:rPr lang="en-US" dirty="0"/>
              <a:t>IV) Criteria to identify systematic managed floats</a:t>
            </a:r>
            <a:br>
              <a:rPr lang="en-US" sz="800" dirty="0"/>
            </a:br>
            <a:endParaRPr lang="en-US" sz="800" dirty="0"/>
          </a:p>
          <a:p>
            <a:r>
              <a:rPr lang="en-US" dirty="0"/>
              <a:t>V) Does the regime choice matter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375EC8-239B-33CB-8099-3E72DA0C4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365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A14B0-932B-E54F-2864-0263F5DF0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25402"/>
            <a:ext cx="8229600" cy="1600200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I) Five recent historical episodes</a:t>
            </a:r>
            <a:br>
              <a:rPr lang="en-US" sz="2700" dirty="0"/>
            </a:br>
            <a:br>
              <a:rPr lang="en-US" sz="2700" dirty="0"/>
            </a:br>
            <a:r>
              <a:rPr lang="en-US" sz="3000" dirty="0"/>
              <a:t>showing direction of Exchange Market Pressure (EMP) </a:t>
            </a:r>
            <a:br>
              <a:rPr lang="en-US" sz="3000" dirty="0"/>
            </a:br>
            <a:r>
              <a:rPr lang="en-US" sz="3000" dirty="0"/>
              <a:t>on smaller countries</a:t>
            </a:r>
            <a:endParaRPr lang="en-US" sz="4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325DC5-6284-CA50-58A5-1EF683B6BD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2665021"/>
            <a:ext cx="8747166" cy="3964379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dirty="0">
                <a:latin typeface="+mn-lt"/>
              </a:rPr>
              <a:t>FRB QE2: Jan 2010 – July 2011                   EMP↑</a:t>
            </a:r>
            <a:br>
              <a:rPr lang="en-US" sz="1100" dirty="0">
                <a:latin typeface="+mn-lt"/>
              </a:rPr>
            </a:br>
            <a:endParaRPr lang="en-US" sz="1100" dirty="0">
              <a:latin typeface="+mn-lt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latin typeface="+mn-lt"/>
              </a:rPr>
              <a:t>Taper tantrum: May 2013 - Dec. 201</a:t>
            </a:r>
            <a:r>
              <a:rPr lang="en-US" dirty="0"/>
              <a:t>3      EMP↓ </a:t>
            </a:r>
            <a:br>
              <a:rPr lang="en-US" sz="1100" dirty="0"/>
            </a:br>
            <a:endParaRPr lang="en-US" sz="1100" dirty="0"/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</a:t>
            </a:r>
            <a:r>
              <a:rPr lang="en-US" dirty="0">
                <a:latin typeface="+mn-lt"/>
              </a:rPr>
              <a:t>ommodity price fall: Jul 2014-Jan 2016  </a:t>
            </a:r>
            <a:r>
              <a:rPr lang="en-US" dirty="0"/>
              <a:t>EMP↓</a:t>
            </a:r>
            <a:br>
              <a:rPr lang="en-US" sz="900" dirty="0">
                <a:latin typeface="+mn-lt"/>
              </a:rPr>
            </a:br>
            <a:endParaRPr lang="en-US" sz="900" dirty="0">
              <a:latin typeface="+mn-lt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latin typeface="+mn-lt"/>
              </a:rPr>
              <a:t>Covid loosening: April 2020 – June 2020  </a:t>
            </a:r>
            <a:r>
              <a:rPr lang="en-US" dirty="0"/>
              <a:t>EMP↑ </a:t>
            </a:r>
            <a:br>
              <a:rPr lang="en-US" sz="900" dirty="0">
                <a:latin typeface="+mn-lt"/>
              </a:rPr>
            </a:br>
            <a:endParaRPr lang="en-US" sz="900" dirty="0">
              <a:latin typeface="+mn-lt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Rapid</a:t>
            </a:r>
            <a:r>
              <a:rPr lang="en-US" dirty="0">
                <a:latin typeface="+mn-lt"/>
              </a:rPr>
              <a:t> tightening: Mar 2022– Nov 2022    EMP↓</a:t>
            </a:r>
            <a:br>
              <a:rPr lang="en-US" sz="2800" dirty="0">
                <a:latin typeface="+mn-lt"/>
              </a:rPr>
            </a:br>
            <a:endParaRPr lang="en-US" sz="2800" dirty="0">
              <a:latin typeface="+mn-lt"/>
            </a:endParaRPr>
          </a:p>
          <a:p>
            <a:endParaRPr lang="en-US" sz="900" b="1" dirty="0">
              <a:latin typeface="+mn-lt"/>
            </a:endParaRPr>
          </a:p>
          <a:p>
            <a:endParaRPr lang="en-US" sz="3200" b="1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6810E7-B162-CF18-F321-2F6018893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8CCD0-1246-4947-80B3-29C7C2140F6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779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2DB2B25-1255-8727-39DE-95CA2E928D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85844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B2B25-1255-8727-39DE-95CA2E928D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85844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graph showing the currency exchange rate&#10;&#10;Description automatically generated">
            <a:extLst>
              <a:ext uri="{FF2B5EF4-FFF2-40B4-BE49-F238E27FC236}">
                <a16:creationId xmlns:a16="http://schemas.microsoft.com/office/drawing/2014/main" id="{17837446-FB62-F5ED-3EA0-8ABE4D1429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888" y="1384986"/>
            <a:ext cx="8280564" cy="509201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0616448-E6E7-53E0-D597-D8B6293D870B}"/>
              </a:ext>
            </a:extLst>
          </p:cNvPr>
          <p:cNvSpPr txBox="1"/>
          <p:nvPr/>
        </p:nvSpPr>
        <p:spPr>
          <a:xfrm>
            <a:off x="375594" y="1447800"/>
            <a:ext cx="178723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dirty="0">
                <a:solidFill>
                  <a:schemeClr val="tx2"/>
                </a:solidFill>
                <a:latin typeface="+mn-lt"/>
              </a:rPr>
              <a:t>FIGURE 1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3D532DB-AF4A-5AFA-0152-E0171BF58540}"/>
              </a:ext>
            </a:extLst>
          </p:cNvPr>
          <p:cNvCxnSpPr>
            <a:cxnSpLocks/>
          </p:cNvCxnSpPr>
          <p:nvPr/>
        </p:nvCxnSpPr>
        <p:spPr>
          <a:xfrm flipV="1">
            <a:off x="1615698" y="3284778"/>
            <a:ext cx="6172289" cy="2315965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B10B1D6-5AFE-9CEF-1453-FD5AA1E8064D}"/>
              </a:ext>
            </a:extLst>
          </p:cNvPr>
          <p:cNvSpPr txBox="1"/>
          <p:nvPr/>
        </p:nvSpPr>
        <p:spPr>
          <a:xfrm>
            <a:off x="7392173" y="3685121"/>
            <a:ext cx="1494679" cy="646331"/>
          </a:xfrm>
          <a:prstGeom prst="rect">
            <a:avLst/>
          </a:prstGeom>
          <a:noFill/>
          <a:ln w="254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+mn-lt"/>
              </a:rPr>
              <a:t>less-managed float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36D292-D78F-1BFF-822F-30A45A23AD2E}"/>
              </a:ext>
            </a:extLst>
          </p:cNvPr>
          <p:cNvSpPr txBox="1"/>
          <p:nvPr/>
        </p:nvSpPr>
        <p:spPr>
          <a:xfrm>
            <a:off x="1363466" y="2438400"/>
            <a:ext cx="1215459" cy="923330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+mn-lt"/>
              </a:rPr>
              <a:t>more-managed floating</a:t>
            </a:r>
          </a:p>
        </p:txBody>
      </p:sp>
      <p:pic>
        <p:nvPicPr>
          <p:cNvPr id="11" name="Picture 2" descr="undefined">
            <a:extLst>
              <a:ext uri="{FF2B5EF4-FFF2-40B4-BE49-F238E27FC236}">
                <a16:creationId xmlns:a16="http://schemas.microsoft.com/office/drawing/2014/main" id="{E0F1D075-2DFC-5E90-A22C-BF966C5B08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4876800" y="2895600"/>
            <a:ext cx="394854" cy="263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lag of Peru | History, Colors &amp; Symbolism | Britannica">
            <a:extLst>
              <a:ext uri="{FF2B5EF4-FFF2-40B4-BE49-F238E27FC236}">
                <a16:creationId xmlns:a16="http://schemas.microsoft.com/office/drawing/2014/main" id="{37329321-F8F5-2854-CED4-B76BA5F8B7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8413" y="3284778"/>
            <a:ext cx="420833" cy="280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Flag of Brazil - Wikipedia">
            <a:extLst>
              <a:ext uri="{FF2B5EF4-FFF2-40B4-BE49-F238E27FC236}">
                <a16:creationId xmlns:a16="http://schemas.microsoft.com/office/drawing/2014/main" id="{2FDE3A75-A268-7FC7-9862-FDB0390B2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9345" y="4555175"/>
            <a:ext cx="439016" cy="30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Kazakhstan (UN) Outdoor Flag Nylon">
            <a:extLst>
              <a:ext uri="{FF2B5EF4-FFF2-40B4-BE49-F238E27FC236}">
                <a16:creationId xmlns:a16="http://schemas.microsoft.com/office/drawing/2014/main" id="{94E0D900-B49C-0767-2F6E-F2EB044908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8287" y="4294734"/>
            <a:ext cx="442354" cy="294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Flag Of South Africa Art Print featuring the painting Flag of South Africa by Unknown">
            <a:extLst>
              <a:ext uri="{FF2B5EF4-FFF2-40B4-BE49-F238E27FC236}">
                <a16:creationId xmlns:a16="http://schemas.microsoft.com/office/drawing/2014/main" id="{9E989E70-FD10-1372-1980-AE53F04838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3004" y="4612941"/>
            <a:ext cx="395604" cy="263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0" descr="Russian Federation (UN) Outdoor Flag Nylon">
            <a:extLst>
              <a:ext uri="{FF2B5EF4-FFF2-40B4-BE49-F238E27FC236}">
                <a16:creationId xmlns:a16="http://schemas.microsoft.com/office/drawing/2014/main" id="{B43BE945-4575-F2CF-85AA-7D91173CF0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3423" y="4872783"/>
            <a:ext cx="390554" cy="260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2" descr="Flag of Australia - Wikipedia">
            <a:extLst>
              <a:ext uri="{FF2B5EF4-FFF2-40B4-BE49-F238E27FC236}">
                <a16:creationId xmlns:a16="http://schemas.microsoft.com/office/drawing/2014/main" id="{13909C55-1D2D-229A-936B-70E63878CA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1615" y="5190791"/>
            <a:ext cx="510101" cy="25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Line 5">
            <a:extLst>
              <a:ext uri="{FF2B5EF4-FFF2-40B4-BE49-F238E27FC236}">
                <a16:creationId xmlns:a16="http://schemas.microsoft.com/office/drawing/2014/main" id="{258D3705-2ABC-7B5F-64E3-DF47A7A09E4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382732" y="5554103"/>
            <a:ext cx="6722177" cy="81192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4" name="Line 6">
            <a:extLst>
              <a:ext uri="{FF2B5EF4-FFF2-40B4-BE49-F238E27FC236}">
                <a16:creationId xmlns:a16="http://schemas.microsoft.com/office/drawing/2014/main" id="{95409782-5D4F-E5D0-260D-C618B455C2C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04195" y="5059224"/>
            <a:ext cx="2973499" cy="615289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5" name="Line 5">
            <a:extLst>
              <a:ext uri="{FF2B5EF4-FFF2-40B4-BE49-F238E27FC236}">
                <a16:creationId xmlns:a16="http://schemas.microsoft.com/office/drawing/2014/main" id="{34063517-7295-0DBA-A27D-E720432E633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04195" y="4987373"/>
            <a:ext cx="5545619" cy="678119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6" name="Line 5">
            <a:extLst>
              <a:ext uri="{FF2B5EF4-FFF2-40B4-BE49-F238E27FC236}">
                <a16:creationId xmlns:a16="http://schemas.microsoft.com/office/drawing/2014/main" id="{48CBD168-9644-4ED0-8EFB-5237D8DE713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377298" y="4758824"/>
            <a:ext cx="3724821" cy="882918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8" name="Line 7">
            <a:extLst>
              <a:ext uri="{FF2B5EF4-FFF2-40B4-BE49-F238E27FC236}">
                <a16:creationId xmlns:a16="http://schemas.microsoft.com/office/drawing/2014/main" id="{82543A9C-EE01-CE03-FF17-75891C99C3C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356013" y="4822557"/>
            <a:ext cx="425876" cy="882918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9" name="Line 13">
            <a:extLst>
              <a:ext uri="{FF2B5EF4-FFF2-40B4-BE49-F238E27FC236}">
                <a16:creationId xmlns:a16="http://schemas.microsoft.com/office/drawing/2014/main" id="{E0928A17-C6D7-D481-9FE1-95F7E34AD47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356012" y="3721860"/>
            <a:ext cx="1431814" cy="199314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31" name="Line 13">
            <a:extLst>
              <a:ext uri="{FF2B5EF4-FFF2-40B4-BE49-F238E27FC236}">
                <a16:creationId xmlns:a16="http://schemas.microsoft.com/office/drawing/2014/main" id="{E3D27010-6C70-0B22-B67C-1A7A71E2D66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373825" y="3410632"/>
            <a:ext cx="3459203" cy="2276446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79BCE108-19B3-DCFA-03F1-BF7DF4E96C17}"/>
              </a:ext>
            </a:extLst>
          </p:cNvPr>
          <p:cNvSpPr txBox="1"/>
          <p:nvPr/>
        </p:nvSpPr>
        <p:spPr>
          <a:xfrm>
            <a:off x="195943" y="152400"/>
            <a:ext cx="8861960" cy="13111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dirty="0">
                <a:latin typeface="+mn-lt"/>
              </a:rPr>
              <a:t>FRB QE2: Jan 2010 – July 2011, </a:t>
            </a:r>
            <a:r>
              <a:rPr lang="en-US" sz="2800" dirty="0"/>
              <a:t>EMP↑ </a:t>
            </a:r>
            <a:r>
              <a:rPr lang="en-US" sz="2800" baseline="30000" dirty="0">
                <a:latin typeface="+mn-lt"/>
              </a:rPr>
              <a:t>Ϯ   </a:t>
            </a:r>
            <a:endParaRPr lang="en-US" sz="800" baseline="30000" dirty="0">
              <a:latin typeface="+mn-lt"/>
            </a:endParaRPr>
          </a:p>
          <a:p>
            <a:pPr algn="ctr">
              <a:lnSpc>
                <a:spcPct val="90000"/>
              </a:lnSpc>
            </a:pPr>
            <a:endParaRPr lang="en-US" sz="800" dirty="0">
              <a:solidFill>
                <a:srgbClr val="7030A0"/>
              </a:solidFill>
              <a:latin typeface="+mn-lt"/>
            </a:endParaRPr>
          </a:p>
          <a:p>
            <a:pPr algn="ctr">
              <a:lnSpc>
                <a:spcPct val="90000"/>
              </a:lnSpc>
            </a:pPr>
            <a:r>
              <a:rPr lang="en-US" sz="2600" dirty="0">
                <a:solidFill>
                  <a:srgbClr val="7030A0"/>
                </a:solidFill>
                <a:latin typeface="+mn-lt"/>
              </a:rPr>
              <a:t>Australia &amp; Brazil allowed their currencies to appreciate</a:t>
            </a:r>
            <a:r>
              <a:rPr lang="en-US" sz="2600" dirty="0">
                <a:latin typeface="+mn-lt"/>
              </a:rPr>
              <a:t>; </a:t>
            </a:r>
          </a:p>
          <a:p>
            <a:pPr algn="ctr">
              <a:lnSpc>
                <a:spcPct val="90000"/>
              </a:lnSpc>
            </a:pPr>
            <a:r>
              <a:rPr lang="en-US" sz="2600" dirty="0">
                <a:solidFill>
                  <a:srgbClr val="C00000"/>
                </a:solidFill>
                <a:latin typeface="+mn-lt"/>
              </a:rPr>
              <a:t>Kazakhstan &amp; Peru bought $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4B90A2C-0B73-4755-90C0-C59CD6B21A7E}"/>
              </a:ext>
            </a:extLst>
          </p:cNvPr>
          <p:cNvSpPr/>
          <p:nvPr/>
        </p:nvSpPr>
        <p:spPr>
          <a:xfrm>
            <a:off x="3921019" y="1878142"/>
            <a:ext cx="2362200" cy="4466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3F8642D-C48D-29FE-6C7E-3076D031CB20}"/>
              </a:ext>
            </a:extLst>
          </p:cNvPr>
          <p:cNvSpPr txBox="1"/>
          <p:nvPr/>
        </p:nvSpPr>
        <p:spPr>
          <a:xfrm>
            <a:off x="2984011" y="6342018"/>
            <a:ext cx="39074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baseline="30000" dirty="0">
                <a:solidFill>
                  <a:srgbClr val="7030A0"/>
                </a:solidFill>
              </a:rPr>
              <a:t>Ϯ</a:t>
            </a:r>
            <a:r>
              <a:rPr lang="en-US" sz="2000" baseline="30000" dirty="0">
                <a:solidFill>
                  <a:srgbClr val="7030A0"/>
                </a:solidFill>
              </a:rPr>
              <a:t> </a:t>
            </a:r>
            <a:r>
              <a:rPr lang="en-US" sz="2000" dirty="0">
                <a:solidFill>
                  <a:srgbClr val="7030A0"/>
                </a:solidFill>
              </a:rPr>
              <a:t>“Currency war” – Brazilian officials</a:t>
            </a:r>
          </a:p>
        </p:txBody>
      </p:sp>
    </p:spTree>
    <p:extLst>
      <p:ext uri="{BB962C8B-B14F-4D97-AF65-F5344CB8AC3E}">
        <p14:creationId xmlns:p14="http://schemas.microsoft.com/office/powerpoint/2010/main" val="3988271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23" grpId="0" animBg="1"/>
      <p:bldP spid="24" grpId="0" animBg="1"/>
      <p:bldP spid="25" grpId="0" animBg="1"/>
      <p:bldP spid="26" grpId="0" animBg="1"/>
      <p:bldP spid="28" grpId="0" animBg="1"/>
      <p:bldP spid="29" grpId="0" animBg="1"/>
      <p:bldP spid="31" grpId="0" animBg="1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D0E999E3-7D8F-3C1F-9987-B6B3FDE965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85844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E999E3-7D8F-3C1F-9987-B6B3FDE965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85844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graph with black text&#10;&#10;Description automatically generated">
            <a:extLst>
              <a:ext uri="{FF2B5EF4-FFF2-40B4-BE49-F238E27FC236}">
                <a16:creationId xmlns:a16="http://schemas.microsoft.com/office/drawing/2014/main" id="{D58153EB-8B03-CCCB-4A82-576E313B2D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1216" y="1295400"/>
            <a:ext cx="7674934" cy="499274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DFF29E6-F05A-5766-F487-8FD77005637E}"/>
              </a:ext>
            </a:extLst>
          </p:cNvPr>
          <p:cNvSpPr txBox="1"/>
          <p:nvPr/>
        </p:nvSpPr>
        <p:spPr>
          <a:xfrm>
            <a:off x="498764" y="1378466"/>
            <a:ext cx="178723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dirty="0">
                <a:solidFill>
                  <a:schemeClr val="tx2"/>
                </a:solidFill>
                <a:latin typeface="+mn-lt"/>
              </a:rPr>
              <a:t>FIGURE 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4F50232-28B9-DEA0-58ED-C161A7A1DFEE}"/>
              </a:ext>
            </a:extLst>
          </p:cNvPr>
          <p:cNvSpPr txBox="1"/>
          <p:nvPr/>
        </p:nvSpPr>
        <p:spPr>
          <a:xfrm>
            <a:off x="4610021" y="4881193"/>
            <a:ext cx="1866979" cy="646331"/>
          </a:xfrm>
          <a:prstGeom prst="rect">
            <a:avLst/>
          </a:prstGeom>
          <a:solidFill>
            <a:schemeClr val="bg1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+mn-lt"/>
              </a:rPr>
              <a:t>more-managed floa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E916C6-BCF5-E013-2CBE-7111D8DCFE40}"/>
              </a:ext>
            </a:extLst>
          </p:cNvPr>
          <p:cNvSpPr txBox="1"/>
          <p:nvPr/>
        </p:nvSpPr>
        <p:spPr>
          <a:xfrm>
            <a:off x="1905000" y="4080016"/>
            <a:ext cx="1164453" cy="923330"/>
          </a:xfrm>
          <a:prstGeom prst="rect">
            <a:avLst/>
          </a:prstGeom>
          <a:noFill/>
          <a:ln w="254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+mn-lt"/>
              </a:rPr>
              <a:t>less-managed</a:t>
            </a:r>
          </a:p>
          <a:p>
            <a:pPr algn="ctr"/>
            <a:r>
              <a:rPr lang="en-US" sz="1800" dirty="0">
                <a:latin typeface="+mn-lt"/>
              </a:rPr>
              <a:t> float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160B99F-8ED1-1B45-9235-52554832E000}"/>
              </a:ext>
            </a:extLst>
          </p:cNvPr>
          <p:cNvCxnSpPr>
            <a:cxnSpLocks/>
          </p:cNvCxnSpPr>
          <p:nvPr/>
        </p:nvCxnSpPr>
        <p:spPr>
          <a:xfrm flipV="1">
            <a:off x="2704751" y="2972605"/>
            <a:ext cx="4076507" cy="2404046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Flag of Brazil - Wikipedia">
            <a:extLst>
              <a:ext uri="{FF2B5EF4-FFF2-40B4-BE49-F238E27FC236}">
                <a16:creationId xmlns:a16="http://schemas.microsoft.com/office/drawing/2014/main" id="{A0ECC9E2-C1A4-B691-1DAE-B9577322AF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680" y="3252836"/>
            <a:ext cx="439016" cy="30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Flag of Australia - Wikipedia">
            <a:extLst>
              <a:ext uri="{FF2B5EF4-FFF2-40B4-BE49-F238E27FC236}">
                <a16:creationId xmlns:a16="http://schemas.microsoft.com/office/drawing/2014/main" id="{BD26EC00-D95A-EAF4-5460-9330AE395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1851" y="2608218"/>
            <a:ext cx="463729" cy="231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4" descr="Flag of Indonesia | Meaning, History &amp; Colors | Britannica">
            <a:extLst>
              <a:ext uri="{FF2B5EF4-FFF2-40B4-BE49-F238E27FC236}">
                <a16:creationId xmlns:a16="http://schemas.microsoft.com/office/drawing/2014/main" id="{412B87ED-FB00-89BE-0160-E68256AADA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720" y="4189140"/>
            <a:ext cx="420833" cy="280555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Kazakhstan (UN) Outdoor Flag Nylon">
            <a:extLst>
              <a:ext uri="{FF2B5EF4-FFF2-40B4-BE49-F238E27FC236}">
                <a16:creationId xmlns:a16="http://schemas.microsoft.com/office/drawing/2014/main" id="{F0212818-8AA3-C817-4D71-619335E162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9416" y="3987904"/>
            <a:ext cx="402140" cy="267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Qatar Flag – Colonial Flag">
            <a:extLst>
              <a:ext uri="{FF2B5EF4-FFF2-40B4-BE49-F238E27FC236}">
                <a16:creationId xmlns:a16="http://schemas.microsoft.com/office/drawing/2014/main" id="{C7277453-90AD-8B5E-B83C-5A92E5FD0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1556" y="4698845"/>
            <a:ext cx="332347" cy="221463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Russian Federation (UN) Outdoor Flag Nylon">
            <a:extLst>
              <a:ext uri="{FF2B5EF4-FFF2-40B4-BE49-F238E27FC236}">
                <a16:creationId xmlns:a16="http://schemas.microsoft.com/office/drawing/2014/main" id="{B03E4142-186F-C826-C4CC-386818F23D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8995" y="3263197"/>
            <a:ext cx="390554" cy="260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54D0BAB7-C2AD-C0B8-6D82-FFCBC11025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932" y="3780516"/>
            <a:ext cx="436090" cy="21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Flag of Turkey - Wikipedia">
            <a:extLst>
              <a:ext uri="{FF2B5EF4-FFF2-40B4-BE49-F238E27FC236}">
                <a16:creationId xmlns:a16="http://schemas.microsoft.com/office/drawing/2014/main" id="{5C8B8632-8F62-2882-22C8-1530509D86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2636485"/>
            <a:ext cx="413858" cy="276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Line 5">
            <a:extLst>
              <a:ext uri="{FF2B5EF4-FFF2-40B4-BE49-F238E27FC236}">
                <a16:creationId xmlns:a16="http://schemas.microsoft.com/office/drawing/2014/main" id="{9EF7BC7F-EDAD-CEEC-F9DB-535B6B0AEEA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386722" y="3021873"/>
            <a:ext cx="1398269" cy="187953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2" name="Line 5">
            <a:extLst>
              <a:ext uri="{FF2B5EF4-FFF2-40B4-BE49-F238E27FC236}">
                <a16:creationId xmlns:a16="http://schemas.microsoft.com/office/drawing/2014/main" id="{B3B6D17C-FA9C-BF1B-333B-3411E6762B0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149887" y="2984904"/>
            <a:ext cx="3578120" cy="221463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3" name="Line 5">
            <a:extLst>
              <a:ext uri="{FF2B5EF4-FFF2-40B4-BE49-F238E27FC236}">
                <a16:creationId xmlns:a16="http://schemas.microsoft.com/office/drawing/2014/main" id="{9246E710-99D9-3BFD-26EF-146D5A06AC2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450143" y="3002498"/>
            <a:ext cx="3318541" cy="943744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4" name="Line 7">
            <a:extLst>
              <a:ext uri="{FF2B5EF4-FFF2-40B4-BE49-F238E27FC236}">
                <a16:creationId xmlns:a16="http://schemas.microsoft.com/office/drawing/2014/main" id="{41EAD012-101D-BC50-066B-3017DBD2A9C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508927" y="3014295"/>
            <a:ext cx="266905" cy="835547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6" name="Line 13">
            <a:extLst>
              <a:ext uri="{FF2B5EF4-FFF2-40B4-BE49-F238E27FC236}">
                <a16:creationId xmlns:a16="http://schemas.microsoft.com/office/drawing/2014/main" id="{8C48343C-64DD-46D4-4B96-85CE24228C3F}"/>
              </a:ext>
            </a:extLst>
          </p:cNvPr>
          <p:cNvSpPr>
            <a:spLocks noChangeShapeType="1"/>
          </p:cNvSpPr>
          <p:nvPr/>
        </p:nvSpPr>
        <p:spPr bwMode="auto">
          <a:xfrm>
            <a:off x="6791265" y="3014295"/>
            <a:ext cx="219810" cy="62130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7" name="Line 6">
            <a:extLst>
              <a:ext uri="{FF2B5EF4-FFF2-40B4-BE49-F238E27FC236}">
                <a16:creationId xmlns:a16="http://schemas.microsoft.com/office/drawing/2014/main" id="{A0C21EBB-43EA-36B3-B729-297A4943F3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060733" y="2992345"/>
            <a:ext cx="2724091" cy="21949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8" name="Line 13">
            <a:extLst>
              <a:ext uri="{FF2B5EF4-FFF2-40B4-BE49-F238E27FC236}">
                <a16:creationId xmlns:a16="http://schemas.microsoft.com/office/drawing/2014/main" id="{5A3D8984-E4DB-8FFE-506B-36CE8F217226}"/>
              </a:ext>
            </a:extLst>
          </p:cNvPr>
          <p:cNvSpPr>
            <a:spLocks noChangeShapeType="1"/>
          </p:cNvSpPr>
          <p:nvPr/>
        </p:nvSpPr>
        <p:spPr bwMode="auto">
          <a:xfrm>
            <a:off x="6777439" y="2997927"/>
            <a:ext cx="22135" cy="1486547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5B374D9-47F3-3458-0497-FB3A2616FF00}"/>
              </a:ext>
            </a:extLst>
          </p:cNvPr>
          <p:cNvSpPr txBox="1"/>
          <p:nvPr/>
        </p:nvSpPr>
        <p:spPr>
          <a:xfrm>
            <a:off x="255190" y="117564"/>
            <a:ext cx="8530523" cy="13111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dirty="0">
                <a:latin typeface="+mn-lt"/>
              </a:rPr>
              <a:t>Taper tantrum: May 2013 - Dec. 2013, </a:t>
            </a:r>
            <a:r>
              <a:rPr lang="en-US" sz="2800" dirty="0"/>
              <a:t>EMP↓ </a:t>
            </a:r>
            <a:r>
              <a:rPr lang="en-US" sz="2800" baseline="30000" dirty="0"/>
              <a:t>Ϯ</a:t>
            </a:r>
            <a:endParaRPr lang="en-US" sz="800" b="1" dirty="0">
              <a:latin typeface="+mn-lt"/>
            </a:endParaRPr>
          </a:p>
          <a:p>
            <a:pPr algn="ctr">
              <a:lnSpc>
                <a:spcPct val="90000"/>
              </a:lnSpc>
            </a:pPr>
            <a:br>
              <a:rPr lang="en-US" sz="800" dirty="0">
                <a:solidFill>
                  <a:srgbClr val="7030A0"/>
                </a:solidFill>
                <a:latin typeface="+mn-lt"/>
              </a:rPr>
            </a:br>
            <a:r>
              <a:rPr lang="en-US" sz="2600" dirty="0">
                <a:solidFill>
                  <a:srgbClr val="7030A0"/>
                </a:solidFill>
                <a:latin typeface="+mn-lt"/>
              </a:rPr>
              <a:t>Australia &amp; Brazil allowed their currencies to depreciate;</a:t>
            </a:r>
          </a:p>
          <a:p>
            <a:pPr algn="ctr">
              <a:lnSpc>
                <a:spcPct val="90000"/>
              </a:lnSpc>
            </a:pPr>
            <a:r>
              <a:rPr lang="en-US" sz="2600" dirty="0">
                <a:solidFill>
                  <a:srgbClr val="C00000"/>
                </a:solidFill>
                <a:latin typeface="+mn-lt"/>
              </a:rPr>
              <a:t>Kazakhstan, Qatar &amp; Kuwait sold $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7937CF2-FBED-28CD-D603-503B40B41E27}"/>
              </a:ext>
            </a:extLst>
          </p:cNvPr>
          <p:cNvSpPr/>
          <p:nvPr/>
        </p:nvSpPr>
        <p:spPr>
          <a:xfrm>
            <a:off x="3810000" y="1828800"/>
            <a:ext cx="2362200" cy="4466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3AD2F91-1D69-0A55-C2A2-B27D1479228F}"/>
              </a:ext>
            </a:extLst>
          </p:cNvPr>
          <p:cNvSpPr txBox="1"/>
          <p:nvPr/>
        </p:nvSpPr>
        <p:spPr>
          <a:xfrm>
            <a:off x="-78377" y="6096000"/>
            <a:ext cx="92608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baseline="30000" dirty="0">
                <a:solidFill>
                  <a:srgbClr val="7030A0"/>
                </a:solidFill>
              </a:rPr>
              <a:t>Ϯ</a:t>
            </a:r>
            <a:r>
              <a:rPr lang="en-US" sz="2000" baseline="30000" dirty="0">
                <a:solidFill>
                  <a:srgbClr val="7030A0"/>
                </a:solidFill>
              </a:rPr>
              <a:t> </a:t>
            </a:r>
            <a:r>
              <a:rPr lang="en-US" sz="2000" dirty="0">
                <a:solidFill>
                  <a:srgbClr val="7030A0"/>
                </a:solidFill>
              </a:rPr>
              <a:t>“Central banks should assess spillover effects from their own actions…</a:t>
            </a:r>
            <a:br>
              <a:rPr lang="en-US" sz="2000" dirty="0">
                <a:solidFill>
                  <a:srgbClr val="7030A0"/>
                </a:solidFill>
              </a:rPr>
            </a:br>
            <a:r>
              <a:rPr lang="en-US" sz="2000" dirty="0">
                <a:solidFill>
                  <a:srgbClr val="7030A0"/>
                </a:solidFill>
              </a:rPr>
              <a:t> in emerging markets…”  -- Raghu Rajan, RBI, 1/20 &amp; 4/10/2014</a:t>
            </a:r>
          </a:p>
        </p:txBody>
      </p:sp>
    </p:spTree>
    <p:extLst>
      <p:ext uri="{BB962C8B-B14F-4D97-AF65-F5344CB8AC3E}">
        <p14:creationId xmlns:p14="http://schemas.microsoft.com/office/powerpoint/2010/main" val="3133358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20" grpId="0" animBg="1"/>
      <p:bldP spid="22" grpId="0" animBg="1"/>
      <p:bldP spid="23" grpId="0" animBg="1"/>
      <p:bldP spid="24" grpId="0" animBg="1"/>
      <p:bldP spid="26" grpId="0" animBg="1"/>
      <p:bldP spid="27" grpId="0" animBg="1"/>
      <p:bldP spid="28" grpId="0" animBg="1"/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D68C8E41-4993-7515-6165-AB9294E385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85844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8C8E41-4993-7515-6165-AB9294E385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85844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graph with numbers and a line&#10;&#10;Description automatically generated with medium confidence">
            <a:extLst>
              <a:ext uri="{FF2B5EF4-FFF2-40B4-BE49-F238E27FC236}">
                <a16:creationId xmlns:a16="http://schemas.microsoft.com/office/drawing/2014/main" id="{DEE094E9-49B6-631E-FB45-D3BA5D2E07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482" y="1466417"/>
            <a:ext cx="7621482" cy="48806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1EAFF9E-3DDC-4B9E-41DD-32C2F4AA7BF6}"/>
              </a:ext>
            </a:extLst>
          </p:cNvPr>
          <p:cNvSpPr txBox="1"/>
          <p:nvPr/>
        </p:nvSpPr>
        <p:spPr>
          <a:xfrm>
            <a:off x="1530528" y="3468469"/>
            <a:ext cx="1549208" cy="646331"/>
          </a:xfrm>
          <a:prstGeom prst="rect">
            <a:avLst/>
          </a:prstGeom>
          <a:noFill/>
          <a:ln w="254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+mn-lt"/>
              </a:rPr>
              <a:t>less-managed floa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1809CE-27AB-EA4D-EF55-C42E08F593D8}"/>
              </a:ext>
            </a:extLst>
          </p:cNvPr>
          <p:cNvSpPr txBox="1"/>
          <p:nvPr/>
        </p:nvSpPr>
        <p:spPr>
          <a:xfrm>
            <a:off x="6301185" y="4648200"/>
            <a:ext cx="1090215" cy="923330"/>
          </a:xfrm>
          <a:prstGeom prst="rect">
            <a:avLst/>
          </a:prstGeom>
          <a:solidFill>
            <a:schemeClr val="bg1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+mn-lt"/>
              </a:rPr>
              <a:t>more-managed float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5A4A00-C959-216F-6E63-F94F3E84F169}"/>
              </a:ext>
            </a:extLst>
          </p:cNvPr>
          <p:cNvCxnSpPr>
            <a:cxnSpLocks/>
          </p:cNvCxnSpPr>
          <p:nvPr/>
        </p:nvCxnSpPr>
        <p:spPr>
          <a:xfrm flipV="1">
            <a:off x="2695471" y="2769241"/>
            <a:ext cx="5139733" cy="2889678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4" descr="Kazakhstan (UN) Outdoor Flag Nylon">
            <a:extLst>
              <a:ext uri="{FF2B5EF4-FFF2-40B4-BE49-F238E27FC236}">
                <a16:creationId xmlns:a16="http://schemas.microsoft.com/office/drawing/2014/main" id="{131F85DE-68A3-3629-82AC-F6636C1A40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8742" y="2932430"/>
            <a:ext cx="402140" cy="267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Flag of Brazil - Wikipedia">
            <a:extLst>
              <a:ext uri="{FF2B5EF4-FFF2-40B4-BE49-F238E27FC236}">
                <a16:creationId xmlns:a16="http://schemas.microsoft.com/office/drawing/2014/main" id="{4D36532A-DEAF-2914-89DF-7349B5EDA1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082" y="2828785"/>
            <a:ext cx="362824" cy="253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Flag Of South Africa Art Print featuring the painting Flag of South Africa by Unknown">
            <a:extLst>
              <a:ext uri="{FF2B5EF4-FFF2-40B4-BE49-F238E27FC236}">
                <a16:creationId xmlns:a16="http://schemas.microsoft.com/office/drawing/2014/main" id="{C89545F8-0D51-ECF5-48C6-D8848C930F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820" y="3470063"/>
            <a:ext cx="395604" cy="263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0" descr="Russian Federation (UN) Outdoor Flag Nylon">
            <a:extLst>
              <a:ext uri="{FF2B5EF4-FFF2-40B4-BE49-F238E27FC236}">
                <a16:creationId xmlns:a16="http://schemas.microsoft.com/office/drawing/2014/main" id="{87DE8479-585A-B7E1-6D83-DD7F0AFF4B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546" y="4409499"/>
            <a:ext cx="472570" cy="31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Qatar Flag – Colonial Flag">
            <a:extLst>
              <a:ext uri="{FF2B5EF4-FFF2-40B4-BE49-F238E27FC236}">
                <a16:creationId xmlns:a16="http://schemas.microsoft.com/office/drawing/2014/main" id="{A8126A78-9021-7BEC-2E50-261ACCBE16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6719" y="4299855"/>
            <a:ext cx="370481" cy="246874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>
            <a:extLst>
              <a:ext uri="{FF2B5EF4-FFF2-40B4-BE49-F238E27FC236}">
                <a16:creationId xmlns:a16="http://schemas.microsoft.com/office/drawing/2014/main" id="{E3FA5079-ACA3-0628-DD79-501B832B26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3048" y="4898292"/>
            <a:ext cx="36590" cy="18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>
            <a:extLst>
              <a:ext uri="{FF2B5EF4-FFF2-40B4-BE49-F238E27FC236}">
                <a16:creationId xmlns:a16="http://schemas.microsoft.com/office/drawing/2014/main" id="{022FCD44-03E3-FB2A-698C-626D56DB9B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762" y="3757746"/>
            <a:ext cx="436090" cy="21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Line 6">
            <a:extLst>
              <a:ext uri="{FF2B5EF4-FFF2-40B4-BE49-F238E27FC236}">
                <a16:creationId xmlns:a16="http://schemas.microsoft.com/office/drawing/2014/main" id="{A6E0BC56-7A4B-2534-FB72-C477A5410F3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796442" y="2779116"/>
            <a:ext cx="5053256" cy="323699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0" name="Line 6">
            <a:extLst>
              <a:ext uri="{FF2B5EF4-FFF2-40B4-BE49-F238E27FC236}">
                <a16:creationId xmlns:a16="http://schemas.microsoft.com/office/drawing/2014/main" id="{DDB5051A-3033-FC49-4E9A-DBD6AC61C4C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534037" y="2785783"/>
            <a:ext cx="4272691" cy="357751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1" name="Line 6">
            <a:extLst>
              <a:ext uri="{FF2B5EF4-FFF2-40B4-BE49-F238E27FC236}">
                <a16:creationId xmlns:a16="http://schemas.microsoft.com/office/drawing/2014/main" id="{E50C1F42-0E57-A89D-498D-C10DEA79014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315717" y="2785736"/>
            <a:ext cx="5522953" cy="2007940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2" name="Line 6">
            <a:extLst>
              <a:ext uri="{FF2B5EF4-FFF2-40B4-BE49-F238E27FC236}">
                <a16:creationId xmlns:a16="http://schemas.microsoft.com/office/drawing/2014/main" id="{B92F3A74-152E-B459-77A0-C29FF031E96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831737" y="2802957"/>
            <a:ext cx="3007525" cy="735485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3" name="Line 7">
            <a:extLst>
              <a:ext uri="{FF2B5EF4-FFF2-40B4-BE49-F238E27FC236}">
                <a16:creationId xmlns:a16="http://schemas.microsoft.com/office/drawing/2014/main" id="{925B11EC-2113-65DC-7F42-F952EB5BEC2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7414265" y="2743477"/>
            <a:ext cx="436282" cy="745869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5" name="Line 13">
            <a:extLst>
              <a:ext uri="{FF2B5EF4-FFF2-40B4-BE49-F238E27FC236}">
                <a16:creationId xmlns:a16="http://schemas.microsoft.com/office/drawing/2014/main" id="{B8AB4327-5DFE-4D1D-EF46-D3A4E027CCC0}"/>
              </a:ext>
            </a:extLst>
          </p:cNvPr>
          <p:cNvSpPr>
            <a:spLocks noChangeShapeType="1"/>
          </p:cNvSpPr>
          <p:nvPr/>
        </p:nvSpPr>
        <p:spPr bwMode="auto">
          <a:xfrm>
            <a:off x="7834420" y="2784897"/>
            <a:ext cx="11432" cy="135603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5537141-73EE-2E69-0425-1CFE2EA64406}"/>
              </a:ext>
            </a:extLst>
          </p:cNvPr>
          <p:cNvSpPr txBox="1"/>
          <p:nvPr/>
        </p:nvSpPr>
        <p:spPr>
          <a:xfrm>
            <a:off x="8709" y="176346"/>
            <a:ext cx="9056368" cy="14219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dirty="0">
                <a:latin typeface="+mn-lt"/>
              </a:rPr>
              <a:t>Global fall in commodity prices: July 2014-Jan </a:t>
            </a:r>
            <a:r>
              <a:rPr lang="en-US" sz="2800" b="1" dirty="0"/>
              <a:t>2016, </a:t>
            </a:r>
            <a:r>
              <a:rPr lang="en-US" sz="2800" dirty="0"/>
              <a:t>EMP↓</a:t>
            </a:r>
            <a:r>
              <a:rPr lang="en-US" sz="2800" baseline="30000" dirty="0"/>
              <a:t> Ϯ</a:t>
            </a:r>
            <a:r>
              <a:rPr lang="en-US" sz="2800" dirty="0"/>
              <a:t> </a:t>
            </a:r>
          </a:p>
          <a:p>
            <a:pPr algn="ctr">
              <a:lnSpc>
                <a:spcPct val="90000"/>
              </a:lnSpc>
            </a:pPr>
            <a:br>
              <a:rPr lang="en-US" sz="800" b="1" dirty="0">
                <a:latin typeface="+mn-lt"/>
              </a:rPr>
            </a:br>
            <a:endParaRPr lang="en-US" sz="800" b="1" dirty="0">
              <a:latin typeface="+mn-lt"/>
            </a:endParaRPr>
          </a:p>
          <a:p>
            <a:pPr algn="ctr">
              <a:lnSpc>
                <a:spcPct val="90000"/>
              </a:lnSpc>
            </a:pPr>
            <a:r>
              <a:rPr lang="en-US" sz="2600" dirty="0">
                <a:solidFill>
                  <a:srgbClr val="7030A0"/>
                </a:solidFill>
                <a:latin typeface="+mn-lt"/>
              </a:rPr>
              <a:t>Brazil &amp; Kazakhstan allowed their currencies to depreciate;</a:t>
            </a:r>
          </a:p>
          <a:p>
            <a:pPr algn="ctr">
              <a:lnSpc>
                <a:spcPct val="90000"/>
              </a:lnSpc>
            </a:pPr>
            <a:r>
              <a:rPr lang="en-US" sz="2600" dirty="0">
                <a:solidFill>
                  <a:srgbClr val="C00000"/>
                </a:solidFill>
                <a:latin typeface="+mn-lt"/>
              </a:rPr>
              <a:t>Kuwait &amp; Qatar sold $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0B643D-D368-3C86-04F8-40C9E2F03DF4}"/>
              </a:ext>
            </a:extLst>
          </p:cNvPr>
          <p:cNvSpPr/>
          <p:nvPr/>
        </p:nvSpPr>
        <p:spPr>
          <a:xfrm>
            <a:off x="3493660" y="1923158"/>
            <a:ext cx="2495462" cy="515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B209DF-D6A8-959E-A91D-E9C165D2C5BC}"/>
              </a:ext>
            </a:extLst>
          </p:cNvPr>
          <p:cNvSpPr txBox="1"/>
          <p:nvPr/>
        </p:nvSpPr>
        <p:spPr>
          <a:xfrm>
            <a:off x="375594" y="1513252"/>
            <a:ext cx="178723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dirty="0">
                <a:solidFill>
                  <a:schemeClr val="tx2"/>
                </a:solidFill>
                <a:latin typeface="+mn-lt"/>
              </a:rPr>
              <a:t>FIGURE 3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F6FDC8-179A-E0F5-88C3-CE2BAD41DEE7}"/>
              </a:ext>
            </a:extLst>
          </p:cNvPr>
          <p:cNvSpPr txBox="1"/>
          <p:nvPr/>
        </p:nvSpPr>
        <p:spPr>
          <a:xfrm>
            <a:off x="-78377" y="6336268"/>
            <a:ext cx="92608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baseline="30000" dirty="0">
                <a:solidFill>
                  <a:srgbClr val="7030A0"/>
                </a:solidFill>
              </a:rPr>
              <a:t>Ϯ</a:t>
            </a:r>
            <a:r>
              <a:rPr lang="en-US" sz="2000" baseline="30000" dirty="0">
                <a:solidFill>
                  <a:srgbClr val="7030A0"/>
                </a:solidFill>
              </a:rPr>
              <a:t> </a:t>
            </a:r>
            <a:r>
              <a:rPr lang="en-US" sz="2000" dirty="0" err="1">
                <a:solidFill>
                  <a:srgbClr val="7030A0"/>
                </a:solidFill>
              </a:rPr>
              <a:t>E.g</a:t>
            </a:r>
            <a:r>
              <a:rPr lang="en-US" sz="2000" dirty="0">
                <a:solidFill>
                  <a:srgbClr val="7030A0"/>
                </a:solidFill>
              </a:rPr>
              <a:t>, Price of oil fell 75%</a:t>
            </a:r>
          </a:p>
        </p:txBody>
      </p:sp>
    </p:spTree>
    <p:extLst>
      <p:ext uri="{BB962C8B-B14F-4D97-AF65-F5344CB8AC3E}">
        <p14:creationId xmlns:p14="http://schemas.microsoft.com/office/powerpoint/2010/main" val="1706114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5" grpId="0" animBg="1"/>
      <p:bldP spid="2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821950DD-DD78-C96E-A707-6336EEEDEC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85844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1950DD-DD78-C96E-A707-6336EEEDEC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85844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A graph with black and white text&#10;&#10;Description automatically generated">
            <a:extLst>
              <a:ext uri="{FF2B5EF4-FFF2-40B4-BE49-F238E27FC236}">
                <a16:creationId xmlns:a16="http://schemas.microsoft.com/office/drawing/2014/main" id="{D0619191-5A3E-33BD-904F-5CCD528B4C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7511" y="1627252"/>
            <a:ext cx="7587902" cy="492594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1A1DC26-A978-2326-0D91-B53283C1F7D4}"/>
              </a:ext>
            </a:extLst>
          </p:cNvPr>
          <p:cNvSpPr txBox="1"/>
          <p:nvPr/>
        </p:nvSpPr>
        <p:spPr>
          <a:xfrm>
            <a:off x="375594" y="1008003"/>
            <a:ext cx="178723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>
                <a:solidFill>
                  <a:schemeClr val="tx2"/>
                </a:solidFill>
                <a:latin typeface="+mn-lt"/>
              </a:rPr>
              <a:t>FIGURE 4 </a:t>
            </a:r>
            <a:endParaRPr lang="en-US" sz="21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CE73B6-77A7-4F37-807A-38197B7C96D5}"/>
              </a:ext>
            </a:extLst>
          </p:cNvPr>
          <p:cNvSpPr txBox="1"/>
          <p:nvPr/>
        </p:nvSpPr>
        <p:spPr>
          <a:xfrm>
            <a:off x="7949594" y="3124200"/>
            <a:ext cx="1104410" cy="923330"/>
          </a:xfrm>
          <a:prstGeom prst="rect">
            <a:avLst/>
          </a:prstGeom>
          <a:noFill/>
          <a:ln w="254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+mn-lt"/>
              </a:rPr>
              <a:t>less-managed floa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6DE004-839A-9816-5E2A-39E312CE192E}"/>
              </a:ext>
            </a:extLst>
          </p:cNvPr>
          <p:cNvSpPr txBox="1"/>
          <p:nvPr/>
        </p:nvSpPr>
        <p:spPr>
          <a:xfrm>
            <a:off x="5905990" y="2581870"/>
            <a:ext cx="1104410" cy="923330"/>
          </a:xfrm>
          <a:prstGeom prst="rect">
            <a:avLst/>
          </a:prstGeom>
          <a:solidFill>
            <a:schemeClr val="bg1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+mn-lt"/>
              </a:rPr>
              <a:t>more-managed float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284C405-93FF-B7D7-F862-CCC15FC1C202}"/>
              </a:ext>
            </a:extLst>
          </p:cNvPr>
          <p:cNvCxnSpPr>
            <a:cxnSpLocks/>
          </p:cNvCxnSpPr>
          <p:nvPr/>
        </p:nvCxnSpPr>
        <p:spPr>
          <a:xfrm flipV="1">
            <a:off x="4535138" y="2819459"/>
            <a:ext cx="3741351" cy="2205051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0" descr="Russian Federation (UN) Outdoor Flag Nylon">
            <a:extLst>
              <a:ext uri="{FF2B5EF4-FFF2-40B4-BE49-F238E27FC236}">
                <a16:creationId xmlns:a16="http://schemas.microsoft.com/office/drawing/2014/main" id="{25738680-EC63-9D13-B299-AF1399086C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6476" y="4862851"/>
            <a:ext cx="390554" cy="260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Kazakhstan (UN) Outdoor Flag Nylon">
            <a:extLst>
              <a:ext uri="{FF2B5EF4-FFF2-40B4-BE49-F238E27FC236}">
                <a16:creationId xmlns:a16="http://schemas.microsoft.com/office/drawing/2014/main" id="{7EBB4DBA-CFAD-F261-9455-277CC4ECC0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260" y="4151630"/>
            <a:ext cx="402140" cy="267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0740C5ED-4611-5544-1DF5-2B17154CE5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6910" y="3814950"/>
            <a:ext cx="436090" cy="21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4" descr="Flag of Indonesia | Meaning, History &amp; Colors | Britannica">
            <a:extLst>
              <a:ext uri="{FF2B5EF4-FFF2-40B4-BE49-F238E27FC236}">
                <a16:creationId xmlns:a16="http://schemas.microsoft.com/office/drawing/2014/main" id="{B375E6A6-E422-C906-2DF3-DD9277A1A9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4400" y="4443845"/>
            <a:ext cx="420833" cy="280555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Qatar Flag – Colonial Flag">
            <a:extLst>
              <a:ext uri="{FF2B5EF4-FFF2-40B4-BE49-F238E27FC236}">
                <a16:creationId xmlns:a16="http://schemas.microsoft.com/office/drawing/2014/main" id="{FF548301-A85D-DC92-8748-933B8BBB2D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2619" y="4443350"/>
            <a:ext cx="370481" cy="246874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BRUNEI FLAG 5X3 FEET 150cm x 90cm image 1">
            <a:extLst>
              <a:ext uri="{FF2B5EF4-FFF2-40B4-BE49-F238E27FC236}">
                <a16:creationId xmlns:a16="http://schemas.microsoft.com/office/drawing/2014/main" id="{8FAEF6D5-C5EE-716D-A5CC-94EAF8EC1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1" y="2148692"/>
            <a:ext cx="449394" cy="295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E228FCB-870E-FDB0-694D-31CEFA087B61}"/>
              </a:ext>
            </a:extLst>
          </p:cNvPr>
          <p:cNvSpPr txBox="1"/>
          <p:nvPr/>
        </p:nvSpPr>
        <p:spPr>
          <a:xfrm>
            <a:off x="3750716" y="-704221"/>
            <a:ext cx="134277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dirty="0">
                <a:solidFill>
                  <a:schemeClr val="tx2"/>
                </a:solidFill>
                <a:latin typeface="+mn-lt"/>
              </a:rPr>
              <a:t>FIGURE 1</a:t>
            </a:r>
          </a:p>
        </p:txBody>
      </p:sp>
      <p:sp>
        <p:nvSpPr>
          <p:cNvPr id="21" name="Line 7">
            <a:extLst>
              <a:ext uri="{FF2B5EF4-FFF2-40B4-BE49-F238E27FC236}">
                <a16:creationId xmlns:a16="http://schemas.microsoft.com/office/drawing/2014/main" id="{91756A21-D3D1-950E-1CB5-D99C0249AF2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6740" y="4784044"/>
            <a:ext cx="16629" cy="26025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2" name="Line 13">
            <a:extLst>
              <a:ext uri="{FF2B5EF4-FFF2-40B4-BE49-F238E27FC236}">
                <a16:creationId xmlns:a16="http://schemas.microsoft.com/office/drawing/2014/main" id="{6B1DE503-669A-0790-EFBC-2E72E04CBB2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32106" y="4198015"/>
            <a:ext cx="167222" cy="831185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5" name="Line 5">
            <a:extLst>
              <a:ext uri="{FF2B5EF4-FFF2-40B4-BE49-F238E27FC236}">
                <a16:creationId xmlns:a16="http://schemas.microsoft.com/office/drawing/2014/main" id="{4CDA1571-37E6-07E1-5DBD-35A34A434D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23369" y="5028464"/>
            <a:ext cx="3014516" cy="13969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6" name="Line 5">
            <a:extLst>
              <a:ext uri="{FF2B5EF4-FFF2-40B4-BE49-F238E27FC236}">
                <a16:creationId xmlns:a16="http://schemas.microsoft.com/office/drawing/2014/main" id="{C70D174D-172A-4ECE-7FD2-D59735517EC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3796" y="4658116"/>
            <a:ext cx="3516458" cy="341171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7" name="Line 5">
            <a:extLst>
              <a:ext uri="{FF2B5EF4-FFF2-40B4-BE49-F238E27FC236}">
                <a16:creationId xmlns:a16="http://schemas.microsoft.com/office/drawing/2014/main" id="{C3A00D0B-188B-5758-5F53-2CE0306C3DF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23430" y="4501849"/>
            <a:ext cx="2781868" cy="486137"/>
          </a:xfrm>
          <a:prstGeom prst="line">
            <a:avLst/>
          </a:prstGeom>
          <a:noFill/>
          <a:ln w="38100">
            <a:solidFill>
              <a:srgbClr val="99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latin typeface="+mn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AD5CC39-2E2A-CCA5-D8A4-AEB1CC320504}"/>
              </a:ext>
            </a:extLst>
          </p:cNvPr>
          <p:cNvSpPr txBox="1"/>
          <p:nvPr/>
        </p:nvSpPr>
        <p:spPr>
          <a:xfrm>
            <a:off x="316420" y="381000"/>
            <a:ext cx="8634608" cy="13111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dirty="0">
                <a:latin typeface="+mn-lt"/>
              </a:rPr>
              <a:t>FRB Covid loosening: April 2020 – June 2020</a:t>
            </a:r>
            <a:r>
              <a:rPr lang="en-US" sz="2800" dirty="0"/>
              <a:t>, EMP↑</a:t>
            </a:r>
            <a:endParaRPr lang="en-US" sz="2800" b="1" dirty="0">
              <a:latin typeface="+mn-lt"/>
            </a:endParaRPr>
          </a:p>
          <a:p>
            <a:pPr algn="ctr">
              <a:lnSpc>
                <a:spcPct val="90000"/>
              </a:lnSpc>
            </a:pPr>
            <a:endParaRPr lang="en-US" sz="800" b="1" dirty="0">
              <a:latin typeface="+mn-lt"/>
            </a:endParaRPr>
          </a:p>
          <a:p>
            <a:pPr algn="ctr">
              <a:lnSpc>
                <a:spcPct val="90000"/>
              </a:lnSpc>
            </a:pPr>
            <a:r>
              <a:rPr lang="en-US" sz="2600" dirty="0">
                <a:solidFill>
                  <a:srgbClr val="7030A0"/>
                </a:solidFill>
                <a:latin typeface="+mn-lt"/>
              </a:rPr>
              <a:t>Russia &amp; Indonesia allowed their currencies to appreciate;</a:t>
            </a:r>
          </a:p>
          <a:p>
            <a:pPr algn="ctr">
              <a:lnSpc>
                <a:spcPct val="90000"/>
              </a:lnSpc>
            </a:pPr>
            <a:r>
              <a:rPr lang="en-US" sz="2600" dirty="0">
                <a:solidFill>
                  <a:srgbClr val="C00000"/>
                </a:solidFill>
                <a:latin typeface="+mn-lt"/>
              </a:rPr>
              <a:t>Qatar &amp; Kuwait bought $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1993A9D-0850-EA17-C066-6D4FB89D4E8E}"/>
              </a:ext>
            </a:extLst>
          </p:cNvPr>
          <p:cNvSpPr/>
          <p:nvPr/>
        </p:nvSpPr>
        <p:spPr>
          <a:xfrm>
            <a:off x="3733800" y="2046943"/>
            <a:ext cx="2362200" cy="49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784B1E-061E-00A7-2A05-B0E46AD51F09}"/>
              </a:ext>
            </a:extLst>
          </p:cNvPr>
          <p:cNvSpPr txBox="1"/>
          <p:nvPr/>
        </p:nvSpPr>
        <p:spPr>
          <a:xfrm>
            <a:off x="527994" y="1641902"/>
            <a:ext cx="178723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dirty="0">
                <a:solidFill>
                  <a:schemeClr val="tx2"/>
                </a:solidFill>
                <a:latin typeface="+mn-lt"/>
              </a:rPr>
              <a:t>FIGURE 4 </a:t>
            </a:r>
          </a:p>
        </p:txBody>
      </p:sp>
      <p:pic>
        <p:nvPicPr>
          <p:cNvPr id="18" name="Picture 2" descr="undefined">
            <a:extLst>
              <a:ext uri="{FF2B5EF4-FFF2-40B4-BE49-F238E27FC236}">
                <a16:creationId xmlns:a16="http://schemas.microsoft.com/office/drawing/2014/main" id="{E9077107-F180-356D-4A95-9C426AE5AE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7337087" y="4179125"/>
            <a:ext cx="359113" cy="239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AAB8FE45-E58A-176B-BEDD-482C48D185DE}"/>
              </a:ext>
            </a:extLst>
          </p:cNvPr>
          <p:cNvSpPr/>
          <p:nvPr/>
        </p:nvSpPr>
        <p:spPr>
          <a:xfrm>
            <a:off x="4953000" y="2529444"/>
            <a:ext cx="898566" cy="28995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839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21" grpId="0" animBg="1"/>
      <p:bldP spid="22" grpId="0" animBg="1"/>
      <p:bldP spid="25" grpId="0" animBg="1"/>
      <p:bldP spid="26" grpId="0" animBg="1"/>
      <p:bldP spid="2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100</TotalTime>
  <Words>3652</Words>
  <Application>Microsoft Office PowerPoint</Application>
  <PresentationFormat>On-screen Show (4:3)</PresentationFormat>
  <Paragraphs>809</Paragraphs>
  <Slides>3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8" baseType="lpstr">
      <vt:lpstr>Arial</vt:lpstr>
      <vt:lpstr>Calibri</vt:lpstr>
      <vt:lpstr>Cambria Math</vt:lpstr>
      <vt:lpstr>Office Theme</vt:lpstr>
      <vt:lpstr>think-cell Slide</vt:lpstr>
      <vt:lpstr>Systematic Managed Floating   Jeffrey Frankel Harpel Professor of Capital Formation and Growth Harvard University </vt:lpstr>
      <vt:lpstr>Introduction</vt:lpstr>
      <vt:lpstr>Countries’ choice of exchange rate regimes</vt:lpstr>
      <vt:lpstr>Outline</vt:lpstr>
      <vt:lpstr>I) Five recent historical episodes  showing direction of Exchange Market Pressure (EMP)  on smaller countr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y choose a systematically managed float?</vt:lpstr>
      <vt:lpstr>Challenge (a): Corners Hypothesis</vt:lpstr>
      <vt:lpstr>De Facto Exchange Rate Arrangements, 1946–2016 Coarse Classification: Share of World GDP in Each Group
</vt:lpstr>
      <vt:lpstr>PowerPoint Presentation</vt:lpstr>
      <vt:lpstr>Challenge (b): “Dilemma not trilemma”</vt:lpstr>
      <vt:lpstr>Challenge (c): “FX intervention is powerless  to affect nominal exchange rates” </vt:lpstr>
      <vt:lpstr>Challenge (d): “Exchange rate disconnect” </vt:lpstr>
      <vt:lpstr>(III)  Classification schemes</vt:lpstr>
      <vt:lpstr>The discrepancies have led to studies that attempt  to estimate and report the true de facto regimes.</vt:lpstr>
      <vt:lpstr>But the de facto classification schemes, though designed to get at the “true answer,” disagree among themselves.</vt:lpstr>
      <vt:lpstr>Why do classification schemes give such different answers?</vt:lpstr>
      <vt:lpstr>(IV) Three approaches to identifying which countries are systematic managed floaters</vt:lpstr>
      <vt:lpstr>Simple-minded Correlation (Δs , ΔRes /MB)</vt:lpstr>
      <vt:lpstr>Table 1: Simple-minded correlation between Δ s and (Δ Res)/MB.      (Monthly, 2001-2023)</vt:lpstr>
      <vt:lpstr>V) The final exercise:  Does the regime choice matter?</vt:lpstr>
      <vt:lpstr>Summary of conclusions</vt:lpstr>
      <vt:lpstr>Systematic Managed Floating   Jeffrey Frankel </vt:lpstr>
      <vt:lpstr>Appendix 1: Estimates for two Asian currencies,  using the Frankel-Wei-Xie technique to explain Δ value of currency  with  γ constrained to 1.0, in calculation of EMP.  From Frankel (2019).</vt:lpstr>
      <vt:lpstr>PowerPoint Presentation</vt:lpstr>
      <vt:lpstr>Appendix 2: Effects of Shocks on Real Exchange Rates</vt:lpstr>
      <vt:lpstr>Many firm-fixers show no effect of commodity price shocks on the RER, including oil-exporters:</vt:lpstr>
      <vt:lpstr>All four floaters show significant RER effects of commodity prices.</vt:lpstr>
      <vt:lpstr>Among other commodity exporters, </vt:lpstr>
    </vt:vector>
  </TitlesOfParts>
  <Company>Harvard Kennedy Schoo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ll</dc:creator>
  <cp:lastModifiedBy>Frankel, Jeffrey A.</cp:lastModifiedBy>
  <cp:revision>209</cp:revision>
  <cp:lastPrinted>2017-05-18T01:09:59Z</cp:lastPrinted>
  <dcterms:created xsi:type="dcterms:W3CDTF">2017-05-12T18:21:40Z</dcterms:created>
  <dcterms:modified xsi:type="dcterms:W3CDTF">2023-10-24T14:56:57Z</dcterms:modified>
</cp:coreProperties>
</file>